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4.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notesSlides/notesSlide5.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notesSlides/notesSlide6.xml" ContentType="application/vnd.openxmlformats-officedocument.presentationml.notesSlide+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notesSlides/notesSlide7.xml" ContentType="application/vnd.openxmlformats-officedocument.presentationml.notesSlide+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6"/>
  </p:notesMasterIdLst>
  <p:sldIdLst>
    <p:sldId id="257" r:id="rId3"/>
    <p:sldId id="260" r:id="rId4"/>
    <p:sldId id="261" r:id="rId5"/>
    <p:sldId id="262" r:id="rId6"/>
    <p:sldId id="268" r:id="rId7"/>
    <p:sldId id="269" r:id="rId8"/>
    <p:sldId id="263" r:id="rId9"/>
    <p:sldId id="278" r:id="rId10"/>
    <p:sldId id="264" r:id="rId11"/>
    <p:sldId id="265" r:id="rId12"/>
    <p:sldId id="310" r:id="rId13"/>
    <p:sldId id="311" r:id="rId14"/>
    <p:sldId id="312" r:id="rId15"/>
    <p:sldId id="313" r:id="rId16"/>
    <p:sldId id="314" r:id="rId17"/>
    <p:sldId id="315" r:id="rId18"/>
    <p:sldId id="316" r:id="rId19"/>
    <p:sldId id="317" r:id="rId20"/>
    <p:sldId id="294" r:id="rId21"/>
    <p:sldId id="279" r:id="rId22"/>
    <p:sldId id="300" r:id="rId23"/>
    <p:sldId id="280" r:id="rId24"/>
    <p:sldId id="286" r:id="rId25"/>
    <p:sldId id="287" r:id="rId26"/>
    <p:sldId id="302" r:id="rId27"/>
    <p:sldId id="303" r:id="rId28"/>
    <p:sldId id="304" r:id="rId29"/>
    <p:sldId id="276" r:id="rId30"/>
    <p:sldId id="305" r:id="rId31"/>
    <p:sldId id="306" r:id="rId32"/>
    <p:sldId id="307" r:id="rId33"/>
    <p:sldId id="308" r:id="rId34"/>
    <p:sldId id="309" r:id="rId35"/>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Stile medio 4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Stile con tema 2 - Colore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FD0F851-EC5A-4D38-B0AD-8093EC10F338}" styleName="Stile chiaro 1 - Color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00" autoAdjust="0"/>
    <p:restoredTop sz="94660"/>
  </p:normalViewPr>
  <p:slideViewPr>
    <p:cSldViewPr>
      <p:cViewPr varScale="1">
        <p:scale>
          <a:sx n="69" d="100"/>
          <a:sy n="69" d="100"/>
        </p:scale>
        <p:origin x="-1542"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iagrams/_rels/data25.xml.rels><?xml version="1.0" encoding="UTF-8" standalone="yes"?>
<Relationships xmlns="http://schemas.openxmlformats.org/package/2006/relationships"><Relationship Id="rId3" Type="http://schemas.openxmlformats.org/officeDocument/2006/relationships/image" Target="../media/image13.jpeg"/><Relationship Id="rId2" Type="http://schemas.microsoft.com/office/2007/relationships/hdphoto" Target="../media/hdphoto1.wdp"/><Relationship Id="rId1" Type="http://schemas.openxmlformats.org/officeDocument/2006/relationships/image" Target="../media/image12.jpeg"/></Relationships>
</file>

<file path=ppt/diagrams/_rels/data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s>
</file>

<file path=ppt/diagrams/_rels/drawing25.xml.rels><?xml version="1.0" encoding="UTF-8" standalone="yes"?>
<Relationships xmlns="http://schemas.openxmlformats.org/package/2006/relationships"><Relationship Id="rId3" Type="http://schemas.openxmlformats.org/officeDocument/2006/relationships/image" Target="../media/image13.jpeg"/><Relationship Id="rId2" Type="http://schemas.microsoft.com/office/2007/relationships/hdphoto" Target="../media/hdphoto1.wdp"/><Relationship Id="rId1" Type="http://schemas.openxmlformats.org/officeDocument/2006/relationships/image" Target="../media/image12.jpeg"/></Relationships>
</file>

<file path=ppt/diagrams/_rels/drawing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hi siamo</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BE4E230-22ED-4F76-A490-CE87A56031A2}" type="presOf" srcId="{2BF37BE0-F1C9-4327-8D6B-194C8F2CF94F}" destId="{7D920113-6D83-4974-923F-4CAA40CA2FDB}" srcOrd="0" destOrd="0" presId="urn:microsoft.com/office/officeart/2008/layout/LinedList"/>
    <dgm:cxn modelId="{047030B9-DCF8-4608-8133-8B2F425183EF}"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546E0FE1-1D10-4023-B7D0-8D2768D4E84A}" type="presParOf" srcId="{58FB0A67-F67A-40BA-890E-A840ED83B605}" destId="{AB26EC88-0333-42E8-B340-C2B4FE18384A}" srcOrd="0" destOrd="0" presId="urn:microsoft.com/office/officeart/2008/layout/LinedList"/>
    <dgm:cxn modelId="{6E6D38EF-245B-48F8-B3FA-8EC62FABB7E9}" type="presParOf" srcId="{58FB0A67-F67A-40BA-890E-A840ED83B605}" destId="{45792684-4DE0-4EDD-B49A-A40AB3BD4B9E}" srcOrd="1" destOrd="0" presId="urn:microsoft.com/office/officeart/2008/layout/LinedList"/>
    <dgm:cxn modelId="{61C7A34C-DA03-407E-8F7E-03F2DDF39938}" type="presParOf" srcId="{45792684-4DE0-4EDD-B49A-A40AB3BD4B9E}" destId="{7D920113-6D83-4974-923F-4CAA40CA2FDB}" srcOrd="0" destOrd="0" presId="urn:microsoft.com/office/officeart/2008/layout/LinedList"/>
    <dgm:cxn modelId="{F00CF280-97A3-4A98-884C-A4FEEF5CE2D0}"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368F97F-F6E3-475E-B404-74D21EF24621}" type="doc">
      <dgm:prSet loTypeId="urn:microsoft.com/office/officeart/2005/8/layout/default#1" loCatId="list" qsTypeId="urn:microsoft.com/office/officeart/2005/8/quickstyle/3d3" qsCatId="3D" csTypeId="urn:microsoft.com/office/officeart/2005/8/colors/accent1_2" csCatId="accent1" phldr="1"/>
      <dgm:spPr/>
      <dgm:t>
        <a:bodyPr/>
        <a:lstStyle/>
        <a:p>
          <a:endParaRPr lang="it-IT"/>
        </a:p>
      </dgm:t>
    </dgm:pt>
    <dgm:pt modelId="{8BA397AC-D747-4707-9354-5F5691AA6C69}">
      <dgm:prSet phldrT="[Testo]" custT="1"/>
      <dgm:spPr/>
      <dgm:t>
        <a:bodyPr/>
        <a:lstStyle/>
        <a:p>
          <a:r>
            <a:rPr lang="it-IT" sz="1800" dirty="0" smtClean="0"/>
            <a:t>Definizione piano di lavoro (in presenza)</a:t>
          </a:r>
        </a:p>
        <a:p>
          <a:r>
            <a:rPr lang="it-IT" sz="1800" dirty="0" smtClean="0"/>
            <a:t>8-9 maggio 2014</a:t>
          </a:r>
          <a:endParaRPr lang="it-IT" sz="1800" dirty="0"/>
        </a:p>
      </dgm:t>
    </dgm:pt>
    <dgm:pt modelId="{2DB22199-E337-49F0-A93D-FCDB1AB3A785}" type="parTrans" cxnId="{18538E5F-5097-436F-A926-EA0FD38241F9}">
      <dgm:prSet/>
      <dgm:spPr/>
      <dgm:t>
        <a:bodyPr/>
        <a:lstStyle/>
        <a:p>
          <a:endParaRPr lang="it-IT"/>
        </a:p>
      </dgm:t>
    </dgm:pt>
    <dgm:pt modelId="{35B1F1FF-6350-46D7-9389-596E1DBC77A8}" type="sibTrans" cxnId="{18538E5F-5097-436F-A926-EA0FD38241F9}">
      <dgm:prSet/>
      <dgm:spPr/>
      <dgm:t>
        <a:bodyPr/>
        <a:lstStyle/>
        <a:p>
          <a:endParaRPr lang="it-IT"/>
        </a:p>
      </dgm:t>
    </dgm:pt>
    <dgm:pt modelId="{5160F0DF-DB10-43F8-8981-C303FB3C8C07}" type="pres">
      <dgm:prSet presAssocID="{1368F97F-F6E3-475E-B404-74D21EF24621}" presName="diagram" presStyleCnt="0">
        <dgm:presLayoutVars>
          <dgm:dir/>
          <dgm:resizeHandles val="exact"/>
        </dgm:presLayoutVars>
      </dgm:prSet>
      <dgm:spPr/>
      <dgm:t>
        <a:bodyPr/>
        <a:lstStyle/>
        <a:p>
          <a:endParaRPr lang="it-IT"/>
        </a:p>
      </dgm:t>
    </dgm:pt>
    <dgm:pt modelId="{192835D1-122D-4027-AADC-8E33108B9F24}" type="pres">
      <dgm:prSet presAssocID="{8BA397AC-D747-4707-9354-5F5691AA6C69}" presName="node" presStyleLbl="node1" presStyleIdx="0" presStyleCnt="1" custScaleX="180816" custScaleY="118846" custLinFactY="200000" custLinFactNeighborX="16910" custLinFactNeighborY="222203">
        <dgm:presLayoutVars>
          <dgm:bulletEnabled val="1"/>
        </dgm:presLayoutVars>
      </dgm:prSet>
      <dgm:spPr/>
      <dgm:t>
        <a:bodyPr/>
        <a:lstStyle/>
        <a:p>
          <a:endParaRPr lang="it-IT"/>
        </a:p>
      </dgm:t>
    </dgm:pt>
  </dgm:ptLst>
  <dgm:cxnLst>
    <dgm:cxn modelId="{BA72891D-FDC4-4F74-B022-DECA83F53E0C}" type="presOf" srcId="{8BA397AC-D747-4707-9354-5F5691AA6C69}" destId="{192835D1-122D-4027-AADC-8E33108B9F24}" srcOrd="0" destOrd="0" presId="urn:microsoft.com/office/officeart/2005/8/layout/default#1"/>
    <dgm:cxn modelId="{18538E5F-5097-436F-A926-EA0FD38241F9}" srcId="{1368F97F-F6E3-475E-B404-74D21EF24621}" destId="{8BA397AC-D747-4707-9354-5F5691AA6C69}" srcOrd="0" destOrd="0" parTransId="{2DB22199-E337-49F0-A93D-FCDB1AB3A785}" sibTransId="{35B1F1FF-6350-46D7-9389-596E1DBC77A8}"/>
    <dgm:cxn modelId="{7F86E0AB-EA39-4660-83AF-2EE531A13436}" type="presOf" srcId="{1368F97F-F6E3-475E-B404-74D21EF24621}" destId="{5160F0DF-DB10-43F8-8981-C303FB3C8C07}" srcOrd="0" destOrd="0" presId="urn:microsoft.com/office/officeart/2005/8/layout/default#1"/>
    <dgm:cxn modelId="{510D28A0-6B98-4722-A904-8D45AD6943F2}" type="presParOf" srcId="{5160F0DF-DB10-43F8-8981-C303FB3C8C07}" destId="{192835D1-122D-4027-AADC-8E33108B9F24}" srcOrd="0" destOrd="0" presId="urn:microsoft.com/office/officeart/2005/8/layout/defaul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2F0A2151-A105-4320-A974-1F5F29495B6C}" type="presOf" srcId="{4DBD1FB0-9DEC-4BF1-BDFE-C56F2660AE47}" destId="{2E4F97BB-80AE-4B89-8B32-FB05A53BD028}" srcOrd="0" destOrd="0" presId="urn:microsoft.com/office/officeart/2008/layout/LinedList"/>
    <dgm:cxn modelId="{96C8A48C-C5AF-46B5-9B5D-144C81DD0D8F}" srcId="{43075584-0A09-4F92-A3EE-4594CC46FEDC}" destId="{4DBD1FB0-9DEC-4BF1-BDFE-C56F2660AE47}" srcOrd="0" destOrd="0" parTransId="{977500EF-1C8F-4ABA-A49C-70BA86BBB338}" sibTransId="{95AA54F3-60A7-4C69-9BA0-A132406858AF}"/>
    <dgm:cxn modelId="{345C0991-9368-48D5-8FED-863B1668EEF8}" type="presOf" srcId="{43075584-0A09-4F92-A3EE-4594CC46FEDC}" destId="{D7EA6325-6413-4438-83E4-6701E2C57717}" srcOrd="0" destOrd="0" presId="urn:microsoft.com/office/officeart/2008/layout/LinedList"/>
    <dgm:cxn modelId="{BF557D84-0209-4C5D-A995-0DF04EE87C2D}" type="presParOf" srcId="{D7EA6325-6413-4438-83E4-6701E2C57717}" destId="{C53CC59A-ED65-4B0D-9470-3F18E593A142}" srcOrd="0" destOrd="0" presId="urn:microsoft.com/office/officeart/2008/layout/LinedList"/>
    <dgm:cxn modelId="{F3F846B6-FCAE-480D-9F5A-B16DC81C9775}" type="presParOf" srcId="{D7EA6325-6413-4438-83E4-6701E2C57717}" destId="{CCBE2F35-B449-4304-A4B7-EB4A0CE90FAA}" srcOrd="1" destOrd="0" presId="urn:microsoft.com/office/officeart/2008/layout/LinedList"/>
    <dgm:cxn modelId="{9D6027D0-1187-4FC9-897A-EBE2802CA18F}" type="presParOf" srcId="{CCBE2F35-B449-4304-A4B7-EB4A0CE90FAA}" destId="{2E4F97BB-80AE-4B89-8B32-FB05A53BD028}" srcOrd="0" destOrd="0" presId="urn:microsoft.com/office/officeart/2008/layout/LinedList"/>
    <dgm:cxn modelId="{919DDDE8-5FAB-4610-894E-7A67F9215FF1}"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239B68A-E7D9-43EB-BAA7-51C73576A697}" type="doc">
      <dgm:prSet loTypeId="urn:microsoft.com/office/officeart/2005/8/layout/cycle5" loCatId="cycle" qsTypeId="urn:microsoft.com/office/officeart/2005/8/quickstyle/3d6" qsCatId="3D" csTypeId="urn:microsoft.com/office/officeart/2005/8/colors/accent1_2" csCatId="accent1" phldr="1"/>
      <dgm:spPr/>
      <dgm:t>
        <a:bodyPr/>
        <a:lstStyle/>
        <a:p>
          <a:endParaRPr lang="it-IT"/>
        </a:p>
      </dgm:t>
    </dgm:pt>
    <dgm:pt modelId="{753D6FF9-76BD-4BDE-B1E8-B27436EA941F}">
      <dgm:prSet phldrT="[Testo]"/>
      <dgm:spPr/>
      <dgm:t>
        <a:bodyPr/>
        <a:lstStyle/>
        <a:p>
          <a:r>
            <a:rPr lang="it-IT" dirty="0" smtClean="0"/>
            <a:t>Biotecnologie</a:t>
          </a:r>
          <a:endParaRPr lang="it-IT" dirty="0"/>
        </a:p>
      </dgm:t>
    </dgm:pt>
    <dgm:pt modelId="{4F8365F4-CA84-4B9A-AE88-7AD472ACAF3E}" type="parTrans" cxnId="{7BB8DB9A-99B6-453C-AA92-C3C9A5178C62}">
      <dgm:prSet/>
      <dgm:spPr/>
      <dgm:t>
        <a:bodyPr/>
        <a:lstStyle/>
        <a:p>
          <a:endParaRPr lang="it-IT"/>
        </a:p>
      </dgm:t>
    </dgm:pt>
    <dgm:pt modelId="{4F583956-5842-4C16-A2FF-C254E27A6615}" type="sibTrans" cxnId="{7BB8DB9A-99B6-453C-AA92-C3C9A5178C62}">
      <dgm:prSet/>
      <dgm:spPr/>
      <dgm:t>
        <a:bodyPr/>
        <a:lstStyle/>
        <a:p>
          <a:endParaRPr lang="it-IT"/>
        </a:p>
      </dgm:t>
    </dgm:pt>
    <dgm:pt modelId="{1C97B484-D592-434B-955F-0238DFAA925A}">
      <dgm:prSet phldrT="[Testo]"/>
      <dgm:spPr/>
      <dgm:t>
        <a:bodyPr/>
        <a:lstStyle/>
        <a:p>
          <a:r>
            <a:rPr lang="it-IT" dirty="0" smtClean="0"/>
            <a:t>ICT</a:t>
          </a:r>
          <a:endParaRPr lang="it-IT" dirty="0"/>
        </a:p>
      </dgm:t>
    </dgm:pt>
    <dgm:pt modelId="{084A2D3D-59DB-4A53-B4DB-369D548646BB}" type="parTrans" cxnId="{78D47852-4458-49D5-AC4D-6FFDD42A9D42}">
      <dgm:prSet/>
      <dgm:spPr/>
      <dgm:t>
        <a:bodyPr/>
        <a:lstStyle/>
        <a:p>
          <a:endParaRPr lang="it-IT"/>
        </a:p>
      </dgm:t>
    </dgm:pt>
    <dgm:pt modelId="{5F8ED8F5-61FB-4E9E-8D3B-64F5C0BD87FF}" type="sibTrans" cxnId="{78D47852-4458-49D5-AC4D-6FFDD42A9D42}">
      <dgm:prSet/>
      <dgm:spPr/>
      <dgm:t>
        <a:bodyPr/>
        <a:lstStyle/>
        <a:p>
          <a:endParaRPr lang="it-IT"/>
        </a:p>
      </dgm:t>
    </dgm:pt>
    <dgm:pt modelId="{88BD0557-199F-4C4D-9088-B630DF809B31}">
      <dgm:prSet phldrT="[Testo]"/>
      <dgm:spPr/>
      <dgm:t>
        <a:bodyPr/>
        <a:lstStyle/>
        <a:p>
          <a:r>
            <a:rPr lang="it-IT" dirty="0" smtClean="0"/>
            <a:t>Innovazione sociale</a:t>
          </a:r>
          <a:endParaRPr lang="it-IT" dirty="0"/>
        </a:p>
      </dgm:t>
    </dgm:pt>
    <dgm:pt modelId="{B2FAA026-9610-40B8-B07C-C4424E290CE7}" type="parTrans" cxnId="{631012E5-0F48-4C31-9834-0B0DC34C1F89}">
      <dgm:prSet/>
      <dgm:spPr/>
      <dgm:t>
        <a:bodyPr/>
        <a:lstStyle/>
        <a:p>
          <a:endParaRPr lang="it-IT"/>
        </a:p>
      </dgm:t>
    </dgm:pt>
    <dgm:pt modelId="{E1B5CD9D-5FC2-4D5F-ADA3-1101548FFF78}" type="sibTrans" cxnId="{631012E5-0F48-4C31-9834-0B0DC34C1F89}">
      <dgm:prSet/>
      <dgm:spPr/>
      <dgm:t>
        <a:bodyPr/>
        <a:lstStyle/>
        <a:p>
          <a:endParaRPr lang="it-IT"/>
        </a:p>
      </dgm:t>
    </dgm:pt>
    <dgm:pt modelId="{4AAD710B-73A7-40D0-BE45-F970671007FE}">
      <dgm:prSet phldrT="[Testo]"/>
      <dgm:spPr/>
      <dgm:t>
        <a:bodyPr/>
        <a:lstStyle/>
        <a:p>
          <a:r>
            <a:rPr lang="it-IT" dirty="0" smtClean="0"/>
            <a:t>Micro elettronica</a:t>
          </a:r>
          <a:endParaRPr lang="it-IT" dirty="0"/>
        </a:p>
      </dgm:t>
    </dgm:pt>
    <dgm:pt modelId="{4DE9D59B-4DE5-4044-B26D-1FEB59A44792}" type="parTrans" cxnId="{7A532FA1-B9A9-47E1-A04D-122ED612F025}">
      <dgm:prSet/>
      <dgm:spPr/>
      <dgm:t>
        <a:bodyPr/>
        <a:lstStyle/>
        <a:p>
          <a:endParaRPr lang="it-IT"/>
        </a:p>
      </dgm:t>
    </dgm:pt>
    <dgm:pt modelId="{09849086-A42A-488F-B9A2-5CBD4130A55E}" type="sibTrans" cxnId="{7A532FA1-B9A9-47E1-A04D-122ED612F025}">
      <dgm:prSet/>
      <dgm:spPr/>
      <dgm:t>
        <a:bodyPr/>
        <a:lstStyle/>
        <a:p>
          <a:endParaRPr lang="it-IT"/>
        </a:p>
      </dgm:t>
    </dgm:pt>
    <dgm:pt modelId="{689482D7-7DAA-4515-AD7B-9F3993164284}" type="pres">
      <dgm:prSet presAssocID="{4239B68A-E7D9-43EB-BAA7-51C73576A697}" presName="cycle" presStyleCnt="0">
        <dgm:presLayoutVars>
          <dgm:dir/>
          <dgm:resizeHandles val="exact"/>
        </dgm:presLayoutVars>
      </dgm:prSet>
      <dgm:spPr/>
      <dgm:t>
        <a:bodyPr/>
        <a:lstStyle/>
        <a:p>
          <a:endParaRPr lang="it-IT"/>
        </a:p>
      </dgm:t>
    </dgm:pt>
    <dgm:pt modelId="{B3434D6D-2122-4A51-877E-06D18981102B}" type="pres">
      <dgm:prSet presAssocID="{753D6FF9-76BD-4BDE-B1E8-B27436EA941F}" presName="node" presStyleLbl="node1" presStyleIdx="0" presStyleCnt="4" custScaleY="28924" custRadScaleRad="129263" custRadScaleInc="1062">
        <dgm:presLayoutVars>
          <dgm:bulletEnabled val="1"/>
        </dgm:presLayoutVars>
      </dgm:prSet>
      <dgm:spPr/>
      <dgm:t>
        <a:bodyPr/>
        <a:lstStyle/>
        <a:p>
          <a:endParaRPr lang="it-IT"/>
        </a:p>
      </dgm:t>
    </dgm:pt>
    <dgm:pt modelId="{4CD83FF9-1CA1-4F89-AC4B-CE683910458D}" type="pres">
      <dgm:prSet presAssocID="{753D6FF9-76BD-4BDE-B1E8-B27436EA941F}" presName="spNode" presStyleCnt="0"/>
      <dgm:spPr/>
    </dgm:pt>
    <dgm:pt modelId="{B48349C0-DA42-45C1-A305-A31ACB3E56FA}" type="pres">
      <dgm:prSet presAssocID="{4F583956-5842-4C16-A2FF-C254E27A6615}" presName="sibTrans" presStyleLbl="sibTrans1D1" presStyleIdx="0" presStyleCnt="4"/>
      <dgm:spPr/>
      <dgm:t>
        <a:bodyPr/>
        <a:lstStyle/>
        <a:p>
          <a:endParaRPr lang="it-IT"/>
        </a:p>
      </dgm:t>
    </dgm:pt>
    <dgm:pt modelId="{6AC538DC-7B9C-4F13-B5F1-2B31B455CDEC}" type="pres">
      <dgm:prSet presAssocID="{1C97B484-D592-434B-955F-0238DFAA925A}" presName="node" presStyleLbl="node1" presStyleIdx="1" presStyleCnt="4" custScaleX="45363" custScaleY="56945" custRadScaleRad="173156" custRadScaleInc="-11710">
        <dgm:presLayoutVars>
          <dgm:bulletEnabled val="1"/>
        </dgm:presLayoutVars>
      </dgm:prSet>
      <dgm:spPr/>
      <dgm:t>
        <a:bodyPr/>
        <a:lstStyle/>
        <a:p>
          <a:endParaRPr lang="it-IT"/>
        </a:p>
      </dgm:t>
    </dgm:pt>
    <dgm:pt modelId="{764BDEC8-8531-4C4B-B0E2-47A247213CC0}" type="pres">
      <dgm:prSet presAssocID="{1C97B484-D592-434B-955F-0238DFAA925A}" presName="spNode" presStyleCnt="0"/>
      <dgm:spPr/>
    </dgm:pt>
    <dgm:pt modelId="{C398BA1F-BFAB-4EDA-A553-016DA6A23E7D}" type="pres">
      <dgm:prSet presAssocID="{5F8ED8F5-61FB-4E9E-8D3B-64F5C0BD87FF}" presName="sibTrans" presStyleLbl="sibTrans1D1" presStyleIdx="1" presStyleCnt="4"/>
      <dgm:spPr/>
      <dgm:t>
        <a:bodyPr/>
        <a:lstStyle/>
        <a:p>
          <a:endParaRPr lang="it-IT"/>
        </a:p>
      </dgm:t>
    </dgm:pt>
    <dgm:pt modelId="{4D6D01E9-C592-4F2E-AB82-072A02D0A479}" type="pres">
      <dgm:prSet presAssocID="{88BD0557-199F-4C4D-9088-B630DF809B31}" presName="node" presStyleLbl="node1" presStyleIdx="2" presStyleCnt="4" custScaleY="44456" custRadScaleRad="125265" custRadScaleInc="-1095">
        <dgm:presLayoutVars>
          <dgm:bulletEnabled val="1"/>
        </dgm:presLayoutVars>
      </dgm:prSet>
      <dgm:spPr/>
      <dgm:t>
        <a:bodyPr/>
        <a:lstStyle/>
        <a:p>
          <a:endParaRPr lang="it-IT"/>
        </a:p>
      </dgm:t>
    </dgm:pt>
    <dgm:pt modelId="{01E9116D-C771-4573-AA29-3BFB9CD852EB}" type="pres">
      <dgm:prSet presAssocID="{88BD0557-199F-4C4D-9088-B630DF809B31}" presName="spNode" presStyleCnt="0"/>
      <dgm:spPr/>
    </dgm:pt>
    <dgm:pt modelId="{F7BAADD9-C75B-4898-B52D-48E4B788C62A}" type="pres">
      <dgm:prSet presAssocID="{E1B5CD9D-5FC2-4D5F-ADA3-1101548FFF78}" presName="sibTrans" presStyleLbl="sibTrans1D1" presStyleIdx="2" presStyleCnt="4"/>
      <dgm:spPr/>
      <dgm:t>
        <a:bodyPr/>
        <a:lstStyle/>
        <a:p>
          <a:endParaRPr lang="it-IT"/>
        </a:p>
      </dgm:t>
    </dgm:pt>
    <dgm:pt modelId="{7086B33B-544F-4FEE-A7F7-198130F517DF}" type="pres">
      <dgm:prSet presAssocID="{4AAD710B-73A7-40D0-BE45-F970671007FE}" presName="node" presStyleLbl="node1" presStyleIdx="3" presStyleCnt="4" custScaleX="51388" custRadScaleRad="164999" custRadScaleInc="-2806">
        <dgm:presLayoutVars>
          <dgm:bulletEnabled val="1"/>
        </dgm:presLayoutVars>
      </dgm:prSet>
      <dgm:spPr/>
      <dgm:t>
        <a:bodyPr/>
        <a:lstStyle/>
        <a:p>
          <a:endParaRPr lang="it-IT"/>
        </a:p>
      </dgm:t>
    </dgm:pt>
    <dgm:pt modelId="{724447C4-B12D-4D00-AC95-AC1A1D8A80BC}" type="pres">
      <dgm:prSet presAssocID="{4AAD710B-73A7-40D0-BE45-F970671007FE}" presName="spNode" presStyleCnt="0"/>
      <dgm:spPr/>
    </dgm:pt>
    <dgm:pt modelId="{00526382-6092-453E-9B7B-82B351DD0AD1}" type="pres">
      <dgm:prSet presAssocID="{09849086-A42A-488F-B9A2-5CBD4130A55E}" presName="sibTrans" presStyleLbl="sibTrans1D1" presStyleIdx="3" presStyleCnt="4"/>
      <dgm:spPr/>
      <dgm:t>
        <a:bodyPr/>
        <a:lstStyle/>
        <a:p>
          <a:endParaRPr lang="it-IT"/>
        </a:p>
      </dgm:t>
    </dgm:pt>
  </dgm:ptLst>
  <dgm:cxnLst>
    <dgm:cxn modelId="{C045FB34-2114-4EEA-BFF0-1CC5C6C3A31D}" type="presOf" srcId="{4AAD710B-73A7-40D0-BE45-F970671007FE}" destId="{7086B33B-544F-4FEE-A7F7-198130F517DF}" srcOrd="0" destOrd="0" presId="urn:microsoft.com/office/officeart/2005/8/layout/cycle5"/>
    <dgm:cxn modelId="{69E6CCAB-AAB9-4E3A-95BC-72BEEE9EFEB6}" type="presOf" srcId="{09849086-A42A-488F-B9A2-5CBD4130A55E}" destId="{00526382-6092-453E-9B7B-82B351DD0AD1}" srcOrd="0" destOrd="0" presId="urn:microsoft.com/office/officeart/2005/8/layout/cycle5"/>
    <dgm:cxn modelId="{631012E5-0F48-4C31-9834-0B0DC34C1F89}" srcId="{4239B68A-E7D9-43EB-BAA7-51C73576A697}" destId="{88BD0557-199F-4C4D-9088-B630DF809B31}" srcOrd="2" destOrd="0" parTransId="{B2FAA026-9610-40B8-B07C-C4424E290CE7}" sibTransId="{E1B5CD9D-5FC2-4D5F-ADA3-1101548FFF78}"/>
    <dgm:cxn modelId="{7A532FA1-B9A9-47E1-A04D-122ED612F025}" srcId="{4239B68A-E7D9-43EB-BAA7-51C73576A697}" destId="{4AAD710B-73A7-40D0-BE45-F970671007FE}" srcOrd="3" destOrd="0" parTransId="{4DE9D59B-4DE5-4044-B26D-1FEB59A44792}" sibTransId="{09849086-A42A-488F-B9A2-5CBD4130A55E}"/>
    <dgm:cxn modelId="{7BB8DB9A-99B6-453C-AA92-C3C9A5178C62}" srcId="{4239B68A-E7D9-43EB-BAA7-51C73576A697}" destId="{753D6FF9-76BD-4BDE-B1E8-B27436EA941F}" srcOrd="0" destOrd="0" parTransId="{4F8365F4-CA84-4B9A-AE88-7AD472ACAF3E}" sibTransId="{4F583956-5842-4C16-A2FF-C254E27A6615}"/>
    <dgm:cxn modelId="{34012554-0450-417A-A079-14E3D8A90C21}" type="presOf" srcId="{1C97B484-D592-434B-955F-0238DFAA925A}" destId="{6AC538DC-7B9C-4F13-B5F1-2B31B455CDEC}" srcOrd="0" destOrd="0" presId="urn:microsoft.com/office/officeart/2005/8/layout/cycle5"/>
    <dgm:cxn modelId="{E5C745D5-E1CC-42B0-9390-DD60F84E1C57}" type="presOf" srcId="{88BD0557-199F-4C4D-9088-B630DF809B31}" destId="{4D6D01E9-C592-4F2E-AB82-072A02D0A479}" srcOrd="0" destOrd="0" presId="urn:microsoft.com/office/officeart/2005/8/layout/cycle5"/>
    <dgm:cxn modelId="{4C41531B-6CBA-4C6E-8E98-5E9C9F5CAFDA}" type="presOf" srcId="{4F583956-5842-4C16-A2FF-C254E27A6615}" destId="{B48349C0-DA42-45C1-A305-A31ACB3E56FA}" srcOrd="0" destOrd="0" presId="urn:microsoft.com/office/officeart/2005/8/layout/cycle5"/>
    <dgm:cxn modelId="{78D47852-4458-49D5-AC4D-6FFDD42A9D42}" srcId="{4239B68A-E7D9-43EB-BAA7-51C73576A697}" destId="{1C97B484-D592-434B-955F-0238DFAA925A}" srcOrd="1" destOrd="0" parTransId="{084A2D3D-59DB-4A53-B4DB-369D548646BB}" sibTransId="{5F8ED8F5-61FB-4E9E-8D3B-64F5C0BD87FF}"/>
    <dgm:cxn modelId="{79275CFF-40C0-43B9-BCD7-567D87228E46}" type="presOf" srcId="{4239B68A-E7D9-43EB-BAA7-51C73576A697}" destId="{689482D7-7DAA-4515-AD7B-9F3993164284}" srcOrd="0" destOrd="0" presId="urn:microsoft.com/office/officeart/2005/8/layout/cycle5"/>
    <dgm:cxn modelId="{8999DE41-3B75-41DB-8229-BF57861DCFF4}" type="presOf" srcId="{E1B5CD9D-5FC2-4D5F-ADA3-1101548FFF78}" destId="{F7BAADD9-C75B-4898-B52D-48E4B788C62A}" srcOrd="0" destOrd="0" presId="urn:microsoft.com/office/officeart/2005/8/layout/cycle5"/>
    <dgm:cxn modelId="{BF50C4DE-3A97-452F-BA0E-E903CAE618B8}" type="presOf" srcId="{753D6FF9-76BD-4BDE-B1E8-B27436EA941F}" destId="{B3434D6D-2122-4A51-877E-06D18981102B}" srcOrd="0" destOrd="0" presId="urn:microsoft.com/office/officeart/2005/8/layout/cycle5"/>
    <dgm:cxn modelId="{D5966188-4D8C-4656-9B1A-0728683FFF4E}" type="presOf" srcId="{5F8ED8F5-61FB-4E9E-8D3B-64F5C0BD87FF}" destId="{C398BA1F-BFAB-4EDA-A553-016DA6A23E7D}" srcOrd="0" destOrd="0" presId="urn:microsoft.com/office/officeart/2005/8/layout/cycle5"/>
    <dgm:cxn modelId="{D9AE5F2B-B5DE-4B0A-A65E-4EACECCFA1CE}" type="presParOf" srcId="{689482D7-7DAA-4515-AD7B-9F3993164284}" destId="{B3434D6D-2122-4A51-877E-06D18981102B}" srcOrd="0" destOrd="0" presId="urn:microsoft.com/office/officeart/2005/8/layout/cycle5"/>
    <dgm:cxn modelId="{4EF92579-F70D-4095-8BB1-143AAE862A13}" type="presParOf" srcId="{689482D7-7DAA-4515-AD7B-9F3993164284}" destId="{4CD83FF9-1CA1-4F89-AC4B-CE683910458D}" srcOrd="1" destOrd="0" presId="urn:microsoft.com/office/officeart/2005/8/layout/cycle5"/>
    <dgm:cxn modelId="{45E5A69F-17A4-402D-9499-E7340602588D}" type="presParOf" srcId="{689482D7-7DAA-4515-AD7B-9F3993164284}" destId="{B48349C0-DA42-45C1-A305-A31ACB3E56FA}" srcOrd="2" destOrd="0" presId="urn:microsoft.com/office/officeart/2005/8/layout/cycle5"/>
    <dgm:cxn modelId="{F59FEE82-2B8B-441F-A557-4944EB6A8831}" type="presParOf" srcId="{689482D7-7DAA-4515-AD7B-9F3993164284}" destId="{6AC538DC-7B9C-4F13-B5F1-2B31B455CDEC}" srcOrd="3" destOrd="0" presId="urn:microsoft.com/office/officeart/2005/8/layout/cycle5"/>
    <dgm:cxn modelId="{0D2997B7-A7B9-4AA2-99E7-204165E0E6D0}" type="presParOf" srcId="{689482D7-7DAA-4515-AD7B-9F3993164284}" destId="{764BDEC8-8531-4C4B-B0E2-47A247213CC0}" srcOrd="4" destOrd="0" presId="urn:microsoft.com/office/officeart/2005/8/layout/cycle5"/>
    <dgm:cxn modelId="{318B27C7-9F50-4A89-BA8F-7916A125C5A7}" type="presParOf" srcId="{689482D7-7DAA-4515-AD7B-9F3993164284}" destId="{C398BA1F-BFAB-4EDA-A553-016DA6A23E7D}" srcOrd="5" destOrd="0" presId="urn:microsoft.com/office/officeart/2005/8/layout/cycle5"/>
    <dgm:cxn modelId="{49683EE5-89B6-45EE-AD71-2A58C2AFDC01}" type="presParOf" srcId="{689482D7-7DAA-4515-AD7B-9F3993164284}" destId="{4D6D01E9-C592-4F2E-AB82-072A02D0A479}" srcOrd="6" destOrd="0" presId="urn:microsoft.com/office/officeart/2005/8/layout/cycle5"/>
    <dgm:cxn modelId="{EBA6D15F-78F5-4629-A110-73D6ED18099B}" type="presParOf" srcId="{689482D7-7DAA-4515-AD7B-9F3993164284}" destId="{01E9116D-C771-4573-AA29-3BFB9CD852EB}" srcOrd="7" destOrd="0" presId="urn:microsoft.com/office/officeart/2005/8/layout/cycle5"/>
    <dgm:cxn modelId="{CDA38C97-83BB-495E-9DC9-F378527E5151}" type="presParOf" srcId="{689482D7-7DAA-4515-AD7B-9F3993164284}" destId="{F7BAADD9-C75B-4898-B52D-48E4B788C62A}" srcOrd="8" destOrd="0" presId="urn:microsoft.com/office/officeart/2005/8/layout/cycle5"/>
    <dgm:cxn modelId="{E28A71A7-DC87-40D6-AB4E-747ED7E4E249}" type="presParOf" srcId="{689482D7-7DAA-4515-AD7B-9F3993164284}" destId="{7086B33B-544F-4FEE-A7F7-198130F517DF}" srcOrd="9" destOrd="0" presId="urn:microsoft.com/office/officeart/2005/8/layout/cycle5"/>
    <dgm:cxn modelId="{48C02635-4CC6-479C-BCB2-B4F6B1AFF1F3}" type="presParOf" srcId="{689482D7-7DAA-4515-AD7B-9F3993164284}" destId="{724447C4-B12D-4D00-AC95-AC1A1D8A80BC}" srcOrd="10" destOrd="0" presId="urn:microsoft.com/office/officeart/2005/8/layout/cycle5"/>
    <dgm:cxn modelId="{00E44AD9-737A-4226-90B6-664112D022C9}" type="presParOf" srcId="{689482D7-7DAA-4515-AD7B-9F3993164284}" destId="{00526382-6092-453E-9B7B-82B351DD0AD1}" srcOrd="11" destOrd="0" presId="urn:microsoft.com/office/officeart/2005/8/layout/cycle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3)</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A4CF264B-7035-48B7-B7C3-2ABCCB043EB2}" type="presOf" srcId="{2BF37BE0-F1C9-4327-8D6B-194C8F2CF94F}" destId="{7D920113-6D83-4974-923F-4CAA40CA2FDB}" srcOrd="0" destOrd="0" presId="urn:microsoft.com/office/officeart/2008/layout/LinedList"/>
    <dgm:cxn modelId="{80EFD9DC-808D-44E2-A8E7-E84843F712F3}"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2B461402-EF6C-472F-87CA-61CE8791CBEC}" type="presParOf" srcId="{58FB0A67-F67A-40BA-890E-A840ED83B605}" destId="{AB26EC88-0333-42E8-B340-C2B4FE18384A}" srcOrd="0" destOrd="0" presId="urn:microsoft.com/office/officeart/2008/layout/LinedList"/>
    <dgm:cxn modelId="{393B0F32-D6DF-4EB0-ABF4-F83717C6EAFF}" type="presParOf" srcId="{58FB0A67-F67A-40BA-890E-A840ED83B605}" destId="{45792684-4DE0-4EDD-B49A-A40AB3BD4B9E}" srcOrd="1" destOrd="0" presId="urn:microsoft.com/office/officeart/2008/layout/LinedList"/>
    <dgm:cxn modelId="{63060A60-D385-4EB7-816B-8A5AAB635C2C}" type="presParOf" srcId="{45792684-4DE0-4EDD-B49A-A40AB3BD4B9E}" destId="{7D920113-6D83-4974-923F-4CAA40CA2FDB}" srcOrd="0" destOrd="0" presId="urn:microsoft.com/office/officeart/2008/layout/LinedList"/>
    <dgm:cxn modelId="{92F17E96-CFDA-44E0-8150-5C69E9C95C43}"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Le regole del confronto</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ttenzione ai tempi</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Comprendere come lavorare più che discutere del merito</a:t>
          </a:r>
          <a:endParaRPr lang="it-IT" sz="3600" b="0" dirty="0">
            <a:solidFill>
              <a:schemeClr val="accent1"/>
            </a:solidFill>
          </a:endParaRPr>
        </a:p>
      </dgm:t>
    </dgm:pt>
    <dgm:pt modelId="{44FDFF5D-A5FE-4F6B-89B8-1FCC632B967C}" type="parTrans" cxnId="{BB9A4BB3-9E3F-4768-AB03-3A5823740DAC}">
      <dgm:prSet/>
      <dgm:spPr/>
      <dgm:t>
        <a:bodyPr/>
        <a:lstStyle/>
        <a:p>
          <a:endParaRPr lang="it-IT"/>
        </a:p>
      </dgm:t>
    </dgm:pt>
    <dgm:pt modelId="{A44EEB28-BFA3-4413-89F9-8106007D5EF7}" type="sibTrans" cxnId="{BB9A4BB3-9E3F-4768-AB03-3A5823740DAC}">
      <dgm:prSet/>
      <dgm:spPr/>
      <dgm:t>
        <a:bodyPr/>
        <a:lstStyle/>
        <a:p>
          <a:endParaRPr lang="it-IT"/>
        </a:p>
      </dgm:t>
    </dgm:pt>
    <dgm:pt modelId="{E8668022-B4E6-4F7B-85CE-7DF06B5D0EF9}">
      <dgm:prSet phldrT="[Testo]" custT="1"/>
      <dgm:spPr/>
      <dgm:t>
        <a:bodyPr/>
        <a:lstStyle/>
        <a:p>
          <a:r>
            <a:rPr lang="it-IT" sz="3600" b="0" dirty="0" smtClean="0">
              <a:solidFill>
                <a:schemeClr val="accent1"/>
              </a:solidFill>
            </a:rPr>
            <a:t>Non sovrapporsi</a:t>
          </a:r>
          <a:endParaRPr lang="it-IT" sz="3600" b="0" dirty="0">
            <a:solidFill>
              <a:schemeClr val="accent1"/>
            </a:solidFill>
          </a:endParaRPr>
        </a:p>
      </dgm:t>
    </dgm:pt>
    <dgm:pt modelId="{A639F380-D1ED-4F16-8273-CE710AF2722F}" type="parTrans" cxnId="{4F66322D-4FDF-40A2-A1A4-85106B7D7A69}">
      <dgm:prSet/>
      <dgm:spPr/>
      <dgm:t>
        <a:bodyPr/>
        <a:lstStyle/>
        <a:p>
          <a:endParaRPr lang="it-IT"/>
        </a:p>
      </dgm:t>
    </dgm:pt>
    <dgm:pt modelId="{40FDD981-82C7-442B-82DA-BB0875708F5C}" type="sibTrans" cxnId="{4F66322D-4FDF-40A2-A1A4-85106B7D7A69}">
      <dgm:prSet/>
      <dgm:spPr/>
      <dgm:t>
        <a:bodyPr/>
        <a:lstStyle/>
        <a:p>
          <a:endParaRPr lang="it-IT"/>
        </a:p>
      </dgm:t>
    </dgm:pt>
    <dgm:pt modelId="{67755247-ABB2-430C-86D0-520F5484A172}">
      <dgm:prSet phldrT="[Testo]" custT="1"/>
      <dgm:spPr/>
      <dgm:t>
        <a:bodyPr/>
        <a:lstStyle/>
        <a:p>
          <a:r>
            <a:rPr lang="it-IT" sz="3600" b="0" dirty="0" smtClean="0">
              <a:solidFill>
                <a:schemeClr val="accent1"/>
              </a:solidFill>
            </a:rPr>
            <a:t>Non ripetersi</a:t>
          </a:r>
          <a:endParaRPr lang="it-IT" sz="3600" b="0" dirty="0">
            <a:solidFill>
              <a:schemeClr val="accent1"/>
            </a:solidFill>
          </a:endParaRPr>
        </a:p>
      </dgm:t>
    </dgm:pt>
    <dgm:pt modelId="{F0DE52B4-7B54-424F-BF46-2F68B78BEC45}" type="parTrans" cxnId="{7CBA6189-3D05-4562-9426-327B4B6D8B85}">
      <dgm:prSet/>
      <dgm:spPr/>
      <dgm:t>
        <a:bodyPr/>
        <a:lstStyle/>
        <a:p>
          <a:endParaRPr lang="it-IT"/>
        </a:p>
      </dgm:t>
    </dgm:pt>
    <dgm:pt modelId="{9A459189-03A5-4FD4-8CCB-3CBA045D52A5}" type="sibTrans" cxnId="{7CBA6189-3D05-4562-9426-327B4B6D8B85}">
      <dgm:prSet/>
      <dgm:spPr/>
      <dgm:t>
        <a:bodyPr/>
        <a:lstStyle/>
        <a:p>
          <a:endParaRPr lang="it-IT"/>
        </a:p>
      </dgm:t>
    </dgm:pt>
    <dgm:pt modelId="{2DAC4A08-F0EC-4141-95E1-0391DF513F7A}">
      <dgm:prSet phldrT="[Testo]" custT="1"/>
      <dgm:spPr/>
      <dgm:t>
        <a:bodyPr/>
        <a:lstStyle/>
        <a:p>
          <a:r>
            <a:rPr lang="it-IT" sz="3600" b="0" dirty="0" smtClean="0">
              <a:solidFill>
                <a:schemeClr val="accent1"/>
              </a:solidFill>
            </a:rPr>
            <a:t>Stare sul tema</a:t>
          </a:r>
          <a:endParaRPr lang="it-IT" sz="3600" b="0" dirty="0">
            <a:solidFill>
              <a:schemeClr val="accent1"/>
            </a:solidFill>
          </a:endParaRPr>
        </a:p>
      </dgm:t>
    </dgm:pt>
    <dgm:pt modelId="{A9695659-22B7-482D-BD64-EA1338119F99}" type="parTrans" cxnId="{D8D973D0-8A60-46F1-9010-AECD87605A11}">
      <dgm:prSet/>
      <dgm:spPr/>
      <dgm:t>
        <a:bodyPr/>
        <a:lstStyle/>
        <a:p>
          <a:endParaRPr lang="it-IT"/>
        </a:p>
      </dgm:t>
    </dgm:pt>
    <dgm:pt modelId="{15D2AB5A-6349-4135-A7E2-60885CE2D866}" type="sibTrans" cxnId="{D8D973D0-8A60-46F1-9010-AECD87605A11}">
      <dgm:prSet/>
      <dgm:spPr/>
      <dgm:t>
        <a:bodyPr/>
        <a:lstStyle/>
        <a:p>
          <a:endParaRPr lang="it-IT"/>
        </a:p>
      </dgm:t>
    </dgm:pt>
    <dgm:pt modelId="{074A061E-7550-4B1C-A8F0-C013B8C23025}">
      <dgm:prSet phldrT="[Testo]" custT="1"/>
      <dgm:spPr/>
      <dgm:t>
        <a:bodyPr/>
        <a:lstStyle/>
        <a:p>
          <a:r>
            <a:rPr lang="it-IT" sz="3600" b="0" dirty="0" smtClean="0">
              <a:solidFill>
                <a:schemeClr val="accent1"/>
              </a:solidFill>
            </a:rPr>
            <a:t>Interventi operativi (escluse premesse)</a:t>
          </a:r>
          <a:endParaRPr lang="it-IT" sz="3600" b="0" dirty="0">
            <a:solidFill>
              <a:schemeClr val="accent1"/>
            </a:solidFill>
          </a:endParaRPr>
        </a:p>
      </dgm:t>
    </dgm:pt>
    <dgm:pt modelId="{FE88A37D-095A-4F77-B5B2-0272391C24A5}" type="parTrans" cxnId="{90B43B46-40BE-4C6A-8D18-E33CA9BF4820}">
      <dgm:prSet/>
      <dgm:spPr/>
      <dgm:t>
        <a:bodyPr/>
        <a:lstStyle/>
        <a:p>
          <a:endParaRPr lang="it-IT"/>
        </a:p>
      </dgm:t>
    </dgm:pt>
    <dgm:pt modelId="{498B8DC2-9EC5-47E6-BCD5-C4052AF11EC1}" type="sibTrans" cxnId="{90B43B46-40BE-4C6A-8D18-E33CA9BF482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4B02C274-7EAF-4E70-B961-1AD9B6DB2F03}" type="presOf" srcId="{E8668022-B4E6-4F7B-85CE-7DF06B5D0EF9}" destId="{19C3370D-7B6A-4F3C-8C78-C38DF1D2FA31}" srcOrd="0" destOrd="4" presId="urn:microsoft.com/office/officeart/2005/8/layout/vList5"/>
    <dgm:cxn modelId="{854E1344-7C29-4A5F-B301-24C01DA9D91A}" type="presOf" srcId="{D446E03B-A085-4EAF-A9D7-21D9E631073A}" destId="{19C3370D-7B6A-4F3C-8C78-C38DF1D2FA31}" srcOrd="0" destOrd="1" presId="urn:microsoft.com/office/officeart/2005/8/layout/vList5"/>
    <dgm:cxn modelId="{19AAEDD2-020D-42FF-B054-2607BB169B6F}" type="presOf" srcId="{67755247-ABB2-430C-86D0-520F5484A172}" destId="{19C3370D-7B6A-4F3C-8C78-C38DF1D2FA31}" srcOrd="0" destOrd="5" presId="urn:microsoft.com/office/officeart/2005/8/layout/vList5"/>
    <dgm:cxn modelId="{F36AA1E8-9E87-49AD-8ED9-59A5E7A98FF8}" type="presOf" srcId="{BE3B8733-AE13-4A7B-A32B-B74DE4C528D7}" destId="{67CAF0F0-11C7-41D4-B458-17DD1ACC65D7}" srcOrd="0" destOrd="0" presId="urn:microsoft.com/office/officeart/2005/8/layout/vList5"/>
    <dgm:cxn modelId="{4864C048-44C3-4449-996B-6BEC43D1DFFE}" type="presOf" srcId="{2DAC4A08-F0EC-4141-95E1-0391DF513F7A}" destId="{19C3370D-7B6A-4F3C-8C78-C38DF1D2FA31}" srcOrd="0" destOrd="2"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4F66322D-4FDF-40A2-A1A4-85106B7D7A69}" srcId="{F23A2E33-A7A9-4C0C-9E2D-FE9B09B27B0C}" destId="{E8668022-B4E6-4F7B-85CE-7DF06B5D0EF9}" srcOrd="4" destOrd="0" parTransId="{A639F380-D1ED-4F16-8273-CE710AF2722F}" sibTransId="{40FDD981-82C7-442B-82DA-BB0875708F5C}"/>
    <dgm:cxn modelId="{EDBD41D0-6AC7-4D7E-AE3C-9F0580ADBBDB}" type="presOf" srcId="{FA935D20-D649-4F38-A41B-69E90530D632}" destId="{19C3370D-7B6A-4F3C-8C78-C38DF1D2FA31}" srcOrd="0" destOrd="0" presId="urn:microsoft.com/office/officeart/2005/8/layout/vList5"/>
    <dgm:cxn modelId="{D8D973D0-8A60-46F1-9010-AECD87605A11}" srcId="{F23A2E33-A7A9-4C0C-9E2D-FE9B09B27B0C}" destId="{2DAC4A08-F0EC-4141-95E1-0391DF513F7A}" srcOrd="2" destOrd="0" parTransId="{A9695659-22B7-482D-BD64-EA1338119F99}" sibTransId="{15D2AB5A-6349-4135-A7E2-60885CE2D866}"/>
    <dgm:cxn modelId="{E76A9A63-FF32-4781-921F-6A2A67CD1E02}" srcId="{F23A2E33-A7A9-4C0C-9E2D-FE9B09B27B0C}" destId="{FA935D20-D649-4F38-A41B-69E90530D632}" srcOrd="0" destOrd="0" parTransId="{BFFBD901-FEFF-45F6-A478-CF6D74317EA2}" sibTransId="{75DA65DA-F2A3-4A8F-8248-871D3727B6B8}"/>
    <dgm:cxn modelId="{E3A9445B-438A-42E7-93C9-EC95ED810ABA}" type="presOf" srcId="{F23A2E33-A7A9-4C0C-9E2D-FE9B09B27B0C}" destId="{4B75031E-EAE2-44AE-A204-79AAE3CD8BF2}" srcOrd="0" destOrd="0" presId="urn:microsoft.com/office/officeart/2005/8/layout/vList5"/>
    <dgm:cxn modelId="{90B43B46-40BE-4C6A-8D18-E33CA9BF4820}" srcId="{F23A2E33-A7A9-4C0C-9E2D-FE9B09B27B0C}" destId="{074A061E-7550-4B1C-A8F0-C013B8C23025}" srcOrd="3" destOrd="0" parTransId="{FE88A37D-095A-4F77-B5B2-0272391C24A5}" sibTransId="{498B8DC2-9EC5-47E6-BCD5-C4052AF11EC1}"/>
    <dgm:cxn modelId="{48039A21-FFD5-41CC-8AF5-CACF83F6A50F}" type="presOf" srcId="{074A061E-7550-4B1C-A8F0-C013B8C23025}" destId="{19C3370D-7B6A-4F3C-8C78-C38DF1D2FA31}" srcOrd="0" destOrd="3" presId="urn:microsoft.com/office/officeart/2005/8/layout/vList5"/>
    <dgm:cxn modelId="{7CBA6189-3D05-4562-9426-327B4B6D8B85}" srcId="{F23A2E33-A7A9-4C0C-9E2D-FE9B09B27B0C}" destId="{67755247-ABB2-430C-86D0-520F5484A172}" srcOrd="5" destOrd="0" parTransId="{F0DE52B4-7B54-424F-BF46-2F68B78BEC45}" sibTransId="{9A459189-03A5-4FD4-8CCB-3CBA045D52A5}"/>
    <dgm:cxn modelId="{BB9A4BB3-9E3F-4768-AB03-3A5823740DAC}" srcId="{F23A2E33-A7A9-4C0C-9E2D-FE9B09B27B0C}" destId="{D446E03B-A085-4EAF-A9D7-21D9E631073A}" srcOrd="1" destOrd="0" parTransId="{44FDFF5D-A5FE-4F6B-89B8-1FCC632B967C}" sibTransId="{A44EEB28-BFA3-4413-89F9-8106007D5EF7}"/>
    <dgm:cxn modelId="{73409514-6F6E-47DC-87AD-75FF6E5EA385}" type="presParOf" srcId="{67CAF0F0-11C7-41D4-B458-17DD1ACC65D7}" destId="{91EF4C2B-0965-4D66-A48D-ECB7ACAE5C2D}" srcOrd="0" destOrd="0" presId="urn:microsoft.com/office/officeart/2005/8/layout/vList5"/>
    <dgm:cxn modelId="{C1BB1C4F-0D02-4A4B-A62A-58E70BB5A423}" type="presParOf" srcId="{91EF4C2B-0965-4D66-A48D-ECB7ACAE5C2D}" destId="{4B75031E-EAE2-44AE-A204-79AAE3CD8BF2}" srcOrd="0" destOrd="0" presId="urn:microsoft.com/office/officeart/2005/8/layout/vList5"/>
    <dgm:cxn modelId="{8142224F-070F-4CAB-9ECA-CE28EB103951}"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4)</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18BFA2ED-418E-41C9-99C5-C597D5EBF103}"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4470811F-60FA-4AC8-9C6C-57A337E7C095}" type="presOf" srcId="{2BF37BE0-F1C9-4327-8D6B-194C8F2CF94F}" destId="{7D920113-6D83-4974-923F-4CAA40CA2FDB}" srcOrd="0" destOrd="0" presId="urn:microsoft.com/office/officeart/2008/layout/LinedList"/>
    <dgm:cxn modelId="{945ECB93-D60B-45DE-B36D-6BF78B54A913}" type="presParOf" srcId="{58FB0A67-F67A-40BA-890E-A840ED83B605}" destId="{AB26EC88-0333-42E8-B340-C2B4FE18384A}" srcOrd="0" destOrd="0" presId="urn:microsoft.com/office/officeart/2008/layout/LinedList"/>
    <dgm:cxn modelId="{98CE227A-31F5-4199-A6B9-85465D9D4846}" type="presParOf" srcId="{58FB0A67-F67A-40BA-890E-A840ED83B605}" destId="{45792684-4DE0-4EDD-B49A-A40AB3BD4B9E}" srcOrd="1" destOrd="0" presId="urn:microsoft.com/office/officeart/2008/layout/LinedList"/>
    <dgm:cxn modelId="{62C69224-C3B9-4517-A51F-D9BB90A2C9AE}" type="presParOf" srcId="{45792684-4DE0-4EDD-B49A-A40AB3BD4B9E}" destId="{7D920113-6D83-4974-923F-4CAA40CA2FDB}" srcOrd="0" destOrd="0" presId="urn:microsoft.com/office/officeart/2008/layout/LinedList"/>
    <dgm:cxn modelId="{0A89BA82-24E4-412F-B5FD-92F0C1684DC3}"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Il </a:t>
          </a:r>
          <a:r>
            <a:rPr lang="it-IT" sz="4400" b="1" dirty="0" err="1" smtClean="0"/>
            <a:t>contributorichiesto</a:t>
          </a:r>
          <a:r>
            <a:rPr lang="it-IT" sz="4400" b="1" dirty="0" smtClean="0"/>
            <a:t> deve essere....</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centrato sulle indicazione dei potenziali ambiti di specializzazione rispetto al tavolo tematic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072475CA-39E6-44D8-A471-577AF76DB987}">
      <dgm:prSet phldrT="[Testo]" custT="1"/>
      <dgm:spPr/>
      <dgm:t>
        <a:bodyPr/>
        <a:lstStyle/>
        <a:p>
          <a:r>
            <a:rPr lang="it-IT" sz="3600" b="0" dirty="0" smtClean="0">
              <a:solidFill>
                <a:schemeClr val="accent1"/>
              </a:solidFill>
            </a:rPr>
            <a:t>giustificato dalle evidenze, dalle scoperte imprenditoriali e dalle conoscenze possedute dagli attori </a:t>
          </a:r>
          <a:endParaRPr lang="it-IT" sz="3600" b="0" dirty="0">
            <a:solidFill>
              <a:schemeClr val="accent1"/>
            </a:solidFill>
          </a:endParaRPr>
        </a:p>
      </dgm:t>
    </dgm:pt>
    <dgm:pt modelId="{070F04A9-CFCA-417D-BF32-5D77678E5752}" type="parTrans" cxnId="{C6211E88-C192-41A1-AF7A-9C938B964870}">
      <dgm:prSet/>
      <dgm:spPr/>
      <dgm:t>
        <a:bodyPr/>
        <a:lstStyle/>
        <a:p>
          <a:endParaRPr lang="it-IT"/>
        </a:p>
      </dgm:t>
    </dgm:pt>
    <dgm:pt modelId="{1791BB8A-C1A4-4EF3-A97F-FD08B5B2C1B9}" type="sibTrans" cxnId="{C6211E88-C192-41A1-AF7A-9C938B96487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92BEFAC6-5D71-4952-9BAD-FF1180A2D285}" type="presOf" srcId="{BE3B8733-AE13-4A7B-A32B-B74DE4C528D7}" destId="{67CAF0F0-11C7-41D4-B458-17DD1ACC65D7}" srcOrd="0" destOrd="0" presId="urn:microsoft.com/office/officeart/2005/8/layout/vList5"/>
    <dgm:cxn modelId="{C6211E88-C192-41A1-AF7A-9C938B964870}" srcId="{F23A2E33-A7A9-4C0C-9E2D-FE9B09B27B0C}" destId="{072475CA-39E6-44D8-A471-577AF76DB987}" srcOrd="1" destOrd="0" parTransId="{070F04A9-CFCA-417D-BF32-5D77678E5752}" sibTransId="{1791BB8A-C1A4-4EF3-A97F-FD08B5B2C1B9}"/>
    <dgm:cxn modelId="{D11EE4EC-F6C5-4BA0-B059-990C33139BA9}" type="presOf" srcId="{072475CA-39E6-44D8-A471-577AF76DB987}" destId="{19C3370D-7B6A-4F3C-8C78-C38DF1D2FA31}" srcOrd="0" destOrd="1"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35B47E5E-53AB-4280-BFEA-6B530D744F23}" type="presOf" srcId="{F23A2E33-A7A9-4C0C-9E2D-FE9B09B27B0C}" destId="{4B75031E-EAE2-44AE-A204-79AAE3CD8BF2}" srcOrd="0" destOrd="0" presId="urn:microsoft.com/office/officeart/2005/8/layout/vList5"/>
    <dgm:cxn modelId="{F79E068A-A4ED-4DE3-8D70-A335E0C082BA}" type="presOf" srcId="{FA935D20-D649-4F38-A41B-69E90530D632}" destId="{19C3370D-7B6A-4F3C-8C78-C38DF1D2FA31}"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DEC37520-1AD8-4096-B272-F621FE9B1B5A}" type="presParOf" srcId="{67CAF0F0-11C7-41D4-B458-17DD1ACC65D7}" destId="{91EF4C2B-0965-4D66-A48D-ECB7ACAE5C2D}" srcOrd="0" destOrd="0" presId="urn:microsoft.com/office/officeart/2005/8/layout/vList5"/>
    <dgm:cxn modelId="{36EFF5F3-3E09-4601-9F21-EE8F6EEB34F6}" type="presParOf" srcId="{91EF4C2B-0965-4D66-A48D-ECB7ACAE5C2D}" destId="{4B75031E-EAE2-44AE-A204-79AAE3CD8BF2}" srcOrd="0" destOrd="0" presId="urn:microsoft.com/office/officeart/2005/8/layout/vList5"/>
    <dgm:cxn modelId="{695D82BD-7B6F-4883-AF3A-4CF9269B19C9}"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vvio Tavoli Tematici</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3F2655DD-D82C-4A32-89A6-0C5EF0DFD1DA}"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D8D11BD-C922-436F-8257-9111BAE40DBC}" type="presOf" srcId="{37F295A9-2A2E-416D-9AE6-C3404377959E}" destId="{58FB0A67-F67A-40BA-890E-A840ED83B605}" srcOrd="0" destOrd="0" presId="urn:microsoft.com/office/officeart/2008/layout/LinedList"/>
    <dgm:cxn modelId="{66E9CAEA-CAB0-4379-85A3-40920C4D7D39}" type="presParOf" srcId="{58FB0A67-F67A-40BA-890E-A840ED83B605}" destId="{AB26EC88-0333-42E8-B340-C2B4FE18384A}" srcOrd="0" destOrd="0" presId="urn:microsoft.com/office/officeart/2008/layout/LinedList"/>
    <dgm:cxn modelId="{4A34A972-7170-4A6D-912D-EF3F0EE96249}" type="presParOf" srcId="{58FB0A67-F67A-40BA-890E-A840ED83B605}" destId="{45792684-4DE0-4EDD-B49A-A40AB3BD4B9E}" srcOrd="1" destOrd="0" presId="urn:microsoft.com/office/officeart/2008/layout/LinedList"/>
    <dgm:cxn modelId="{6274442A-61C9-4244-91AF-E10337B04C10}" type="presParOf" srcId="{45792684-4DE0-4EDD-B49A-A40AB3BD4B9E}" destId="{7D920113-6D83-4974-923F-4CAA40CA2FDB}" srcOrd="0" destOrd="0" presId="urn:microsoft.com/office/officeart/2008/layout/LinedList"/>
    <dgm:cxn modelId="{8BFE525E-176F-47E7-B502-9EDB10CD2C82}"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mbiti di Specializzazione del Tavolo Tematico</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A9A2A334-0C02-415E-9180-8D7C7DE451BB}"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076D1D3E-31E5-427D-98A4-87E08520D5D2}" type="presOf" srcId="{37F295A9-2A2E-416D-9AE6-C3404377959E}" destId="{58FB0A67-F67A-40BA-890E-A840ED83B605}" srcOrd="0" destOrd="0" presId="urn:microsoft.com/office/officeart/2008/layout/LinedList"/>
    <dgm:cxn modelId="{70CD12FE-EE8D-4919-90EC-24607EFD3494}" type="presParOf" srcId="{58FB0A67-F67A-40BA-890E-A840ED83B605}" destId="{AB26EC88-0333-42E8-B340-C2B4FE18384A}" srcOrd="0" destOrd="0" presId="urn:microsoft.com/office/officeart/2008/layout/LinedList"/>
    <dgm:cxn modelId="{B62E679C-7480-4295-84D6-A437D808922C}" type="presParOf" srcId="{58FB0A67-F67A-40BA-890E-A840ED83B605}" destId="{45792684-4DE0-4EDD-B49A-A40AB3BD4B9E}" srcOrd="1" destOrd="0" presId="urn:microsoft.com/office/officeart/2008/layout/LinedList"/>
    <dgm:cxn modelId="{B412AD2D-1946-46E3-A4E3-0BDDFA92A6A3}" type="presParOf" srcId="{45792684-4DE0-4EDD-B49A-A40AB3BD4B9E}" destId="{7D920113-6D83-4974-923F-4CAA40CA2FDB}" srcOrd="0" destOrd="0" presId="urn:microsoft.com/office/officeart/2008/layout/LinedList"/>
    <dgm:cxn modelId="{27C763BF-535B-4D2D-80A3-DB18C87FD009}"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368E725-06F6-4EAD-9E0F-B66D4033C629}" type="doc">
      <dgm:prSet loTypeId="urn:microsoft.com/office/officeart/2005/8/layout/cycle8" loCatId="cycle" qsTypeId="urn:microsoft.com/office/officeart/2005/8/quickstyle/simple1#8" qsCatId="simple" csTypeId="urn:microsoft.com/office/officeart/2005/8/colors/accent6_1" csCatId="accent6" phldr="1"/>
      <dgm:spPr/>
    </dgm:pt>
    <dgm:pt modelId="{0C9909B0-C4D1-4673-8FE9-7FB1B3537D5F}">
      <dgm:prSet phldrT="[Testo]"/>
      <dgm:spPr/>
      <dgm:t>
        <a:bodyPr/>
        <a:lstStyle/>
        <a:p>
          <a:r>
            <a:rPr lang="it-IT" dirty="0" smtClean="0"/>
            <a:t>Primo progress</a:t>
          </a:r>
          <a:endParaRPr lang="it-IT" dirty="0"/>
        </a:p>
      </dgm:t>
    </dgm:pt>
    <dgm:pt modelId="{AD2FB2EF-CC11-422C-904C-430DED4E6E9E}" type="parTrans" cxnId="{D2A09C40-91F6-4B6C-A7B7-BDF212B78F01}">
      <dgm:prSet/>
      <dgm:spPr/>
      <dgm:t>
        <a:bodyPr/>
        <a:lstStyle/>
        <a:p>
          <a:endParaRPr lang="it-IT"/>
        </a:p>
      </dgm:t>
    </dgm:pt>
    <dgm:pt modelId="{2335EC0B-2C5E-40AC-8E84-BDE82BDB4B85}" type="sibTrans" cxnId="{D2A09C40-91F6-4B6C-A7B7-BDF212B78F01}">
      <dgm:prSet/>
      <dgm:spPr/>
      <dgm:t>
        <a:bodyPr/>
        <a:lstStyle/>
        <a:p>
          <a:endParaRPr lang="it-IT"/>
        </a:p>
      </dgm:t>
    </dgm:pt>
    <dgm:pt modelId="{C052A170-C5E2-46F5-AFD6-B9CAE75C92A2}">
      <dgm:prSet phldrT="[Testo]"/>
      <dgm:spPr/>
      <dgm:t>
        <a:bodyPr/>
        <a:lstStyle/>
        <a:p>
          <a:r>
            <a:rPr lang="it-IT" dirty="0" smtClean="0"/>
            <a:t>Secondo progress</a:t>
          </a:r>
          <a:endParaRPr lang="it-IT" dirty="0"/>
        </a:p>
      </dgm:t>
    </dgm:pt>
    <dgm:pt modelId="{C6F3C0F1-0242-4038-AFCB-C5A03B118BFA}" type="parTrans" cxnId="{1D8DB658-48EE-4C74-8266-7F397B268996}">
      <dgm:prSet/>
      <dgm:spPr/>
      <dgm:t>
        <a:bodyPr/>
        <a:lstStyle/>
        <a:p>
          <a:endParaRPr lang="it-IT"/>
        </a:p>
      </dgm:t>
    </dgm:pt>
    <dgm:pt modelId="{7B47B23C-536D-4D10-A1FC-69DC534B777E}" type="sibTrans" cxnId="{1D8DB658-48EE-4C74-8266-7F397B268996}">
      <dgm:prSet/>
      <dgm:spPr/>
      <dgm:t>
        <a:bodyPr/>
        <a:lstStyle/>
        <a:p>
          <a:endParaRPr lang="it-IT"/>
        </a:p>
      </dgm:t>
    </dgm:pt>
    <dgm:pt modelId="{B274D4BD-F86B-4929-8634-F6F23559CF48}" type="pres">
      <dgm:prSet presAssocID="{6368E725-06F6-4EAD-9E0F-B66D4033C629}" presName="compositeShape" presStyleCnt="0">
        <dgm:presLayoutVars>
          <dgm:chMax val="7"/>
          <dgm:dir/>
          <dgm:resizeHandles val="exact"/>
        </dgm:presLayoutVars>
      </dgm:prSet>
      <dgm:spPr/>
    </dgm:pt>
    <dgm:pt modelId="{722A1584-12A4-45C1-ACD7-958A7385C148}" type="pres">
      <dgm:prSet presAssocID="{6368E725-06F6-4EAD-9E0F-B66D4033C629}" presName="wedge1" presStyleLbl="node1" presStyleIdx="0" presStyleCnt="2"/>
      <dgm:spPr/>
      <dgm:t>
        <a:bodyPr/>
        <a:lstStyle/>
        <a:p>
          <a:endParaRPr lang="it-IT"/>
        </a:p>
      </dgm:t>
    </dgm:pt>
    <dgm:pt modelId="{3816EB57-8CB9-4243-883D-9495CA88C90A}" type="pres">
      <dgm:prSet presAssocID="{6368E725-06F6-4EAD-9E0F-B66D4033C629}" presName="dummy1a" presStyleCnt="0"/>
      <dgm:spPr/>
    </dgm:pt>
    <dgm:pt modelId="{E1E9E9C3-A608-4384-944F-7C480E88E4FF}" type="pres">
      <dgm:prSet presAssocID="{6368E725-06F6-4EAD-9E0F-B66D4033C629}" presName="dummy1b" presStyleCnt="0"/>
      <dgm:spPr/>
    </dgm:pt>
    <dgm:pt modelId="{3BCC67D8-283E-41D7-9E04-1D82D2FAC8D1}" type="pres">
      <dgm:prSet presAssocID="{6368E725-06F6-4EAD-9E0F-B66D4033C629}" presName="wedge1Tx" presStyleLbl="node1" presStyleIdx="0" presStyleCnt="2">
        <dgm:presLayoutVars>
          <dgm:chMax val="0"/>
          <dgm:chPref val="0"/>
          <dgm:bulletEnabled val="1"/>
        </dgm:presLayoutVars>
      </dgm:prSet>
      <dgm:spPr/>
      <dgm:t>
        <a:bodyPr/>
        <a:lstStyle/>
        <a:p>
          <a:endParaRPr lang="it-IT"/>
        </a:p>
      </dgm:t>
    </dgm:pt>
    <dgm:pt modelId="{911D987E-41D9-4858-92D0-BAC1D4352876}" type="pres">
      <dgm:prSet presAssocID="{6368E725-06F6-4EAD-9E0F-B66D4033C629}" presName="wedge2" presStyleLbl="node1" presStyleIdx="1" presStyleCnt="2"/>
      <dgm:spPr/>
      <dgm:t>
        <a:bodyPr/>
        <a:lstStyle/>
        <a:p>
          <a:endParaRPr lang="it-IT"/>
        </a:p>
      </dgm:t>
    </dgm:pt>
    <dgm:pt modelId="{DEB098EB-AE9B-451C-92E3-682CC1314882}" type="pres">
      <dgm:prSet presAssocID="{6368E725-06F6-4EAD-9E0F-B66D4033C629}" presName="dummy2a" presStyleCnt="0"/>
      <dgm:spPr/>
    </dgm:pt>
    <dgm:pt modelId="{E3A2AB01-BB81-4D50-ADDB-959D1112D5CE}" type="pres">
      <dgm:prSet presAssocID="{6368E725-06F6-4EAD-9E0F-B66D4033C629}" presName="dummy2b" presStyleCnt="0"/>
      <dgm:spPr/>
    </dgm:pt>
    <dgm:pt modelId="{F82E0761-BF61-4696-92A8-0EFB29262AFB}" type="pres">
      <dgm:prSet presAssocID="{6368E725-06F6-4EAD-9E0F-B66D4033C629}" presName="wedge2Tx" presStyleLbl="node1" presStyleIdx="1" presStyleCnt="2">
        <dgm:presLayoutVars>
          <dgm:chMax val="0"/>
          <dgm:chPref val="0"/>
          <dgm:bulletEnabled val="1"/>
        </dgm:presLayoutVars>
      </dgm:prSet>
      <dgm:spPr/>
      <dgm:t>
        <a:bodyPr/>
        <a:lstStyle/>
        <a:p>
          <a:endParaRPr lang="it-IT"/>
        </a:p>
      </dgm:t>
    </dgm:pt>
    <dgm:pt modelId="{091889A5-5D1D-4DA7-941E-C8B05D965E22}" type="pres">
      <dgm:prSet presAssocID="{2335EC0B-2C5E-40AC-8E84-BDE82BDB4B85}" presName="arrowWedge1" presStyleLbl="fgSibTrans2D1" presStyleIdx="0" presStyleCnt="2"/>
      <dgm:spPr/>
    </dgm:pt>
    <dgm:pt modelId="{8FA0F59F-4621-418C-96D7-0810ADA847CA}" type="pres">
      <dgm:prSet presAssocID="{7B47B23C-536D-4D10-A1FC-69DC534B777E}" presName="arrowWedge2" presStyleLbl="fgSibTrans2D1" presStyleIdx="1" presStyleCnt="2"/>
      <dgm:spPr>
        <a:solidFill>
          <a:schemeClr val="accent6">
            <a:lumMod val="75000"/>
          </a:schemeClr>
        </a:solidFill>
      </dgm:spPr>
    </dgm:pt>
  </dgm:ptLst>
  <dgm:cxnLst>
    <dgm:cxn modelId="{67EC002C-987C-4A9F-A95C-F2F843F1A406}" type="presOf" srcId="{C052A170-C5E2-46F5-AFD6-B9CAE75C92A2}" destId="{911D987E-41D9-4858-92D0-BAC1D4352876}" srcOrd="0" destOrd="0" presId="urn:microsoft.com/office/officeart/2005/8/layout/cycle8"/>
    <dgm:cxn modelId="{D2A09C40-91F6-4B6C-A7B7-BDF212B78F01}" srcId="{6368E725-06F6-4EAD-9E0F-B66D4033C629}" destId="{0C9909B0-C4D1-4673-8FE9-7FB1B3537D5F}" srcOrd="0" destOrd="0" parTransId="{AD2FB2EF-CC11-422C-904C-430DED4E6E9E}" sibTransId="{2335EC0B-2C5E-40AC-8E84-BDE82BDB4B85}"/>
    <dgm:cxn modelId="{1D8DB658-48EE-4C74-8266-7F397B268996}" srcId="{6368E725-06F6-4EAD-9E0F-B66D4033C629}" destId="{C052A170-C5E2-46F5-AFD6-B9CAE75C92A2}" srcOrd="1" destOrd="0" parTransId="{C6F3C0F1-0242-4038-AFCB-C5A03B118BFA}" sibTransId="{7B47B23C-536D-4D10-A1FC-69DC534B777E}"/>
    <dgm:cxn modelId="{6C0A4ACC-5610-45FF-9C11-92B27F5ADA32}" type="presOf" srcId="{0C9909B0-C4D1-4673-8FE9-7FB1B3537D5F}" destId="{722A1584-12A4-45C1-ACD7-958A7385C148}" srcOrd="0" destOrd="0" presId="urn:microsoft.com/office/officeart/2005/8/layout/cycle8"/>
    <dgm:cxn modelId="{48451E69-CF9B-45CB-B97E-9DF90AE3F169}" type="presOf" srcId="{0C9909B0-C4D1-4673-8FE9-7FB1B3537D5F}" destId="{3BCC67D8-283E-41D7-9E04-1D82D2FAC8D1}" srcOrd="1" destOrd="0" presId="urn:microsoft.com/office/officeart/2005/8/layout/cycle8"/>
    <dgm:cxn modelId="{62899AF6-1DA3-4C3D-BA6D-5796DB02CDA0}" type="presOf" srcId="{C052A170-C5E2-46F5-AFD6-B9CAE75C92A2}" destId="{F82E0761-BF61-4696-92A8-0EFB29262AFB}" srcOrd="1" destOrd="0" presId="urn:microsoft.com/office/officeart/2005/8/layout/cycle8"/>
    <dgm:cxn modelId="{917C79A6-BC07-42BB-A41A-EC9391DDE152}" type="presOf" srcId="{6368E725-06F6-4EAD-9E0F-B66D4033C629}" destId="{B274D4BD-F86B-4929-8634-F6F23559CF48}" srcOrd="0" destOrd="0" presId="urn:microsoft.com/office/officeart/2005/8/layout/cycle8"/>
    <dgm:cxn modelId="{869D9D9D-E3E3-4184-A737-79F498FC3CB2}" type="presParOf" srcId="{B274D4BD-F86B-4929-8634-F6F23559CF48}" destId="{722A1584-12A4-45C1-ACD7-958A7385C148}" srcOrd="0" destOrd="0" presId="urn:microsoft.com/office/officeart/2005/8/layout/cycle8"/>
    <dgm:cxn modelId="{95BE1EF9-9632-4B3E-956C-B70A7E9D8ACA}" type="presParOf" srcId="{B274D4BD-F86B-4929-8634-F6F23559CF48}" destId="{3816EB57-8CB9-4243-883D-9495CA88C90A}" srcOrd="1" destOrd="0" presId="urn:microsoft.com/office/officeart/2005/8/layout/cycle8"/>
    <dgm:cxn modelId="{C70B85BA-73BC-4310-8910-F10F35954E44}" type="presParOf" srcId="{B274D4BD-F86B-4929-8634-F6F23559CF48}" destId="{E1E9E9C3-A608-4384-944F-7C480E88E4FF}" srcOrd="2" destOrd="0" presId="urn:microsoft.com/office/officeart/2005/8/layout/cycle8"/>
    <dgm:cxn modelId="{2E1D480E-E282-4664-A162-90DAD605D2BD}" type="presParOf" srcId="{B274D4BD-F86B-4929-8634-F6F23559CF48}" destId="{3BCC67D8-283E-41D7-9E04-1D82D2FAC8D1}" srcOrd="3" destOrd="0" presId="urn:microsoft.com/office/officeart/2005/8/layout/cycle8"/>
    <dgm:cxn modelId="{44A78F64-904C-489F-986B-79EE28DFFA4B}" type="presParOf" srcId="{B274D4BD-F86B-4929-8634-F6F23559CF48}" destId="{911D987E-41D9-4858-92D0-BAC1D4352876}" srcOrd="4" destOrd="0" presId="urn:microsoft.com/office/officeart/2005/8/layout/cycle8"/>
    <dgm:cxn modelId="{91B349CB-413D-4A77-934F-1FD63A8C4A13}" type="presParOf" srcId="{B274D4BD-F86B-4929-8634-F6F23559CF48}" destId="{DEB098EB-AE9B-451C-92E3-682CC1314882}" srcOrd="5" destOrd="0" presId="urn:microsoft.com/office/officeart/2005/8/layout/cycle8"/>
    <dgm:cxn modelId="{A0A15E80-CCC1-4CDC-B870-16247969A588}" type="presParOf" srcId="{B274D4BD-F86B-4929-8634-F6F23559CF48}" destId="{E3A2AB01-BB81-4D50-ADDB-959D1112D5CE}" srcOrd="6" destOrd="0" presId="urn:microsoft.com/office/officeart/2005/8/layout/cycle8"/>
    <dgm:cxn modelId="{687A0FBF-40EA-4167-917B-22AE06EDF1F1}" type="presParOf" srcId="{B274D4BD-F86B-4929-8634-F6F23559CF48}" destId="{F82E0761-BF61-4696-92A8-0EFB29262AFB}" srcOrd="7" destOrd="0" presId="urn:microsoft.com/office/officeart/2005/8/layout/cycle8"/>
    <dgm:cxn modelId="{1616DEDA-6E69-4C3C-AE12-D40FC5DED477}" type="presParOf" srcId="{B274D4BD-F86B-4929-8634-F6F23559CF48}" destId="{091889A5-5D1D-4DA7-941E-C8B05D965E22}" srcOrd="8" destOrd="0" presId="urn:microsoft.com/office/officeart/2005/8/layout/cycle8"/>
    <dgm:cxn modelId="{2378AF07-2BB3-4225-8CE8-2B5327FC69AE}" type="presParOf" srcId="{B274D4BD-F86B-4929-8634-F6F23559CF48}" destId="{8FA0F59F-4621-418C-96D7-0810ADA847CA}" srcOrd="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000" b="1" dirty="0" smtClean="0"/>
            <a:t>TAVOLO TEMATICO ENERGIA</a:t>
          </a:r>
          <a:endParaRPr lang="it-IT" sz="2000" b="1" dirty="0"/>
        </a:p>
      </dgm:t>
    </dgm:pt>
    <dgm:pt modelId="{4B3C5EFE-833D-4256-8D22-790DD4FEA846}" type="parTrans" cxnId="{AA13AB5C-83C5-45C1-864A-5D3145E95840}">
      <dgm:prSet/>
      <dgm:spPr/>
      <dgm:t>
        <a:bodyPr/>
        <a:lstStyle/>
        <a:p>
          <a:endParaRPr lang="it-IT" sz="2000"/>
        </a:p>
      </dgm:t>
    </dgm:pt>
    <dgm:pt modelId="{CE2E410B-761E-4681-BB83-5F0176147C43}" type="sibTrans" cxnId="{AA13AB5C-83C5-45C1-864A-5D3145E95840}">
      <dgm:prSet/>
      <dgm:spPr/>
      <dgm:t>
        <a:bodyPr/>
        <a:lstStyle/>
        <a:p>
          <a:endParaRPr lang="it-IT" sz="2000"/>
        </a:p>
      </dgm:t>
    </dgm:pt>
    <dgm:pt modelId="{FA935D20-D649-4F38-A41B-69E90530D632}">
      <dgm:prSet phldrT="[Testo]" custT="1"/>
      <dgm:spPr/>
      <dgm:t>
        <a:bodyPr/>
        <a:lstStyle/>
        <a:p>
          <a:r>
            <a:rPr lang="it-IT" sz="2000" b="0" dirty="0" smtClean="0">
              <a:solidFill>
                <a:schemeClr val="accent1"/>
              </a:solidFill>
            </a:rPr>
            <a:t>Referenti </a:t>
          </a:r>
          <a:r>
            <a:rPr lang="it-IT" sz="2000" b="0" dirty="0" err="1" smtClean="0">
              <a:solidFill>
                <a:schemeClr val="accent1"/>
              </a:solidFill>
            </a:rPr>
            <a:t>GdL</a:t>
          </a:r>
          <a:r>
            <a:rPr lang="it-IT" sz="2000" b="0" dirty="0" smtClean="0">
              <a:solidFill>
                <a:schemeClr val="accent1"/>
              </a:solidFill>
            </a:rPr>
            <a:t> </a:t>
          </a:r>
          <a:r>
            <a:rPr lang="it-IT" sz="2000" b="0" dirty="0" err="1" smtClean="0">
              <a:solidFill>
                <a:schemeClr val="accent1"/>
              </a:solidFill>
            </a:rPr>
            <a:t>interdiscipinare</a:t>
          </a:r>
          <a:endParaRPr lang="it-IT" sz="2000" b="0" dirty="0">
            <a:solidFill>
              <a:schemeClr val="accent1"/>
            </a:solidFill>
          </a:endParaRPr>
        </a:p>
      </dgm:t>
    </dgm:pt>
    <dgm:pt modelId="{BFFBD901-FEFF-45F6-A478-CF6D74317EA2}" type="parTrans" cxnId="{E76A9A63-FF32-4781-921F-6A2A67CD1E02}">
      <dgm:prSet/>
      <dgm:spPr/>
      <dgm:t>
        <a:bodyPr/>
        <a:lstStyle/>
        <a:p>
          <a:endParaRPr lang="it-IT" sz="2000"/>
        </a:p>
      </dgm:t>
    </dgm:pt>
    <dgm:pt modelId="{75DA65DA-F2A3-4A8F-8248-871D3727B6B8}" type="sibTrans" cxnId="{E76A9A63-FF32-4781-921F-6A2A67CD1E02}">
      <dgm:prSet/>
      <dgm:spPr/>
      <dgm:t>
        <a:bodyPr/>
        <a:lstStyle/>
        <a:p>
          <a:endParaRPr lang="it-IT" sz="2000"/>
        </a:p>
      </dgm:t>
    </dgm:pt>
    <dgm:pt modelId="{8BB6A080-A949-4D1C-B030-163CE8EC11BC}">
      <dgm:prSet phldrT="[Testo]" custT="1"/>
      <dgm:spPr/>
      <dgm:t>
        <a:bodyPr/>
        <a:lstStyle/>
        <a:p>
          <a:r>
            <a:rPr lang="it-IT" sz="2000" b="0" dirty="0" smtClean="0">
              <a:solidFill>
                <a:srgbClr val="FF0000"/>
              </a:solidFill>
            </a:rPr>
            <a:t>Attori del territorio portatori di conoscenze e competenze che hanno inviato il modulo di adesione  </a:t>
          </a:r>
          <a:endParaRPr lang="it-IT" sz="2000" b="0" dirty="0">
            <a:solidFill>
              <a:srgbClr val="FF0000"/>
            </a:solidFill>
          </a:endParaRPr>
        </a:p>
      </dgm:t>
    </dgm:pt>
    <dgm:pt modelId="{B7D68DE0-F979-4024-9E91-C355F70A818F}" type="parTrans" cxnId="{46B7F6E8-B65C-483A-96AC-86247C4F21DA}">
      <dgm:prSet/>
      <dgm:spPr/>
      <dgm:t>
        <a:bodyPr/>
        <a:lstStyle/>
        <a:p>
          <a:endParaRPr lang="it-IT" sz="2000"/>
        </a:p>
      </dgm:t>
    </dgm:pt>
    <dgm:pt modelId="{94EAB1A3-E966-4F06-B413-5526B2035841}" type="sibTrans" cxnId="{46B7F6E8-B65C-483A-96AC-86247C4F21DA}">
      <dgm:prSet/>
      <dgm:spPr/>
      <dgm:t>
        <a:bodyPr/>
        <a:lstStyle/>
        <a:p>
          <a:endParaRPr lang="it-IT" sz="2000"/>
        </a:p>
      </dgm:t>
    </dgm:pt>
    <dgm:pt modelId="{EC43B956-372B-403A-9F15-9A51E24CCC08}">
      <dgm:prSet phldrT="[Testo]" custT="1"/>
      <dgm:spPr/>
      <dgm:t>
        <a:bodyPr/>
        <a:lstStyle/>
        <a:p>
          <a:r>
            <a:rPr lang="it-IT" sz="2000" b="0" dirty="0" smtClean="0">
              <a:solidFill>
                <a:schemeClr val="accent1"/>
              </a:solidFill>
            </a:rPr>
            <a:t>Facilitatori</a:t>
          </a:r>
          <a:endParaRPr lang="it-IT" sz="2000" b="0" dirty="0">
            <a:solidFill>
              <a:schemeClr val="accent1"/>
            </a:solidFill>
          </a:endParaRPr>
        </a:p>
      </dgm:t>
    </dgm:pt>
    <dgm:pt modelId="{2C35DA52-C47F-49FF-8381-3D2B976F0974}" type="parTrans" cxnId="{123893C6-D1CF-4A3E-B249-8BE8CB6E8A60}">
      <dgm:prSet/>
      <dgm:spPr/>
      <dgm:t>
        <a:bodyPr/>
        <a:lstStyle/>
        <a:p>
          <a:endParaRPr lang="it-IT" sz="2000"/>
        </a:p>
      </dgm:t>
    </dgm:pt>
    <dgm:pt modelId="{2CD06480-FAED-4496-AC35-B7DBAAF42A19}" type="sibTrans" cxnId="{123893C6-D1CF-4A3E-B249-8BE8CB6E8A60}">
      <dgm:prSet/>
      <dgm:spPr/>
      <dgm:t>
        <a:bodyPr/>
        <a:lstStyle/>
        <a:p>
          <a:endParaRPr lang="it-IT" sz="2000"/>
        </a:p>
      </dgm:t>
    </dgm:pt>
    <dgm:pt modelId="{C626F9B2-0463-47D3-BA52-A872326A8ACE}">
      <dgm:prSet phldrT="[Testo]" custT="1"/>
      <dgm:spPr/>
      <dgm:t>
        <a:bodyPr/>
        <a:lstStyle/>
        <a:p>
          <a:r>
            <a:rPr lang="it-IT" sz="2000" b="0" dirty="0" smtClean="0">
              <a:solidFill>
                <a:schemeClr val="accent1"/>
              </a:solidFill>
            </a:rPr>
            <a:t>Referenti Dipartimenti regionali</a:t>
          </a:r>
          <a:endParaRPr lang="it-IT" sz="2000" b="0" dirty="0">
            <a:solidFill>
              <a:schemeClr val="accent1"/>
            </a:solidFill>
          </a:endParaRPr>
        </a:p>
      </dgm:t>
    </dgm:pt>
    <dgm:pt modelId="{621246B2-0F72-43CC-BBBD-4861827B02CA}" type="parTrans" cxnId="{926D403E-A820-4B35-8474-CECEDBE1FE93}">
      <dgm:prSet/>
      <dgm:spPr/>
      <dgm:t>
        <a:bodyPr/>
        <a:lstStyle/>
        <a:p>
          <a:endParaRPr lang="it-IT" sz="2000"/>
        </a:p>
      </dgm:t>
    </dgm:pt>
    <dgm:pt modelId="{2AB5A212-C1F2-4108-95E6-F5AF0A6EE3EB}" type="sibTrans" cxnId="{926D403E-A820-4B35-8474-CECEDBE1FE93}">
      <dgm:prSet/>
      <dgm:spPr/>
      <dgm:t>
        <a:bodyPr/>
        <a:lstStyle/>
        <a:p>
          <a:endParaRPr lang="it-IT" sz="20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106033" custLinFactNeighborX="-689" custLinFactNeighborY="2564">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X="124766" custScaleY="122865" custLinFactNeighborX="3125" custLinFactNeighborY="5343">
        <dgm:presLayoutVars>
          <dgm:bulletEnabled val="1"/>
        </dgm:presLayoutVars>
      </dgm:prSet>
      <dgm:spPr/>
      <dgm:t>
        <a:bodyPr/>
        <a:lstStyle/>
        <a:p>
          <a:endParaRPr lang="it-IT"/>
        </a:p>
      </dgm:t>
    </dgm:pt>
  </dgm:ptLst>
  <dgm:cxnLst>
    <dgm:cxn modelId="{0E1CC3AE-2D6A-4ADC-A05E-A1F53E3A0DD4}" type="presOf" srcId="{8BB6A080-A949-4D1C-B030-163CE8EC11BC}" destId="{19C3370D-7B6A-4F3C-8C78-C38DF1D2FA31}" srcOrd="0" destOrd="3" presId="urn:microsoft.com/office/officeart/2005/8/layout/vList5"/>
    <dgm:cxn modelId="{123893C6-D1CF-4A3E-B249-8BE8CB6E8A60}" srcId="{F23A2E33-A7A9-4C0C-9E2D-FE9B09B27B0C}" destId="{EC43B956-372B-403A-9F15-9A51E24CCC08}" srcOrd="2" destOrd="0" parTransId="{2C35DA52-C47F-49FF-8381-3D2B976F0974}" sibTransId="{2CD06480-FAED-4496-AC35-B7DBAAF42A19}"/>
    <dgm:cxn modelId="{B54F13A2-A53E-4215-A6CF-70433DBD7F51}" type="presOf" srcId="{C626F9B2-0463-47D3-BA52-A872326A8ACE}" destId="{19C3370D-7B6A-4F3C-8C78-C38DF1D2FA31}" srcOrd="0" destOrd="1"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AE6AF4B2-F88F-43F2-9956-BA5C181297C3}" type="presOf" srcId="{EC43B956-372B-403A-9F15-9A51E24CCC08}" destId="{19C3370D-7B6A-4F3C-8C78-C38DF1D2FA31}" srcOrd="0" destOrd="2" presId="urn:microsoft.com/office/officeart/2005/8/layout/vList5"/>
    <dgm:cxn modelId="{EB67E285-84FC-45ED-9407-9E3D503AD076}" type="presOf" srcId="{F23A2E33-A7A9-4C0C-9E2D-FE9B09B27B0C}" destId="{4B75031E-EAE2-44AE-A204-79AAE3CD8BF2}"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46B7F6E8-B65C-483A-96AC-86247C4F21DA}" srcId="{F23A2E33-A7A9-4C0C-9E2D-FE9B09B27B0C}" destId="{8BB6A080-A949-4D1C-B030-163CE8EC11BC}" srcOrd="3" destOrd="0" parTransId="{B7D68DE0-F979-4024-9E91-C355F70A818F}" sibTransId="{94EAB1A3-E966-4F06-B413-5526B2035841}"/>
    <dgm:cxn modelId="{55E748F3-FA94-42F6-BC2B-DF3F88D219F4}" type="presOf" srcId="{FA935D20-D649-4F38-A41B-69E90530D632}" destId="{19C3370D-7B6A-4F3C-8C78-C38DF1D2FA31}" srcOrd="0" destOrd="0" presId="urn:microsoft.com/office/officeart/2005/8/layout/vList5"/>
    <dgm:cxn modelId="{926D403E-A820-4B35-8474-CECEDBE1FE93}" srcId="{F23A2E33-A7A9-4C0C-9E2D-FE9B09B27B0C}" destId="{C626F9B2-0463-47D3-BA52-A872326A8ACE}" srcOrd="1" destOrd="0" parTransId="{621246B2-0F72-43CC-BBBD-4861827B02CA}" sibTransId="{2AB5A212-C1F2-4108-95E6-F5AF0A6EE3EB}"/>
    <dgm:cxn modelId="{AE577E69-D9BD-4C7B-A6E7-081AC3D329BF}" type="presOf" srcId="{BE3B8733-AE13-4A7B-A32B-B74DE4C528D7}" destId="{67CAF0F0-11C7-41D4-B458-17DD1ACC65D7}" srcOrd="0" destOrd="0" presId="urn:microsoft.com/office/officeart/2005/8/layout/vList5"/>
    <dgm:cxn modelId="{A75EBA2C-BB82-4441-8DBC-3173D93AE10A}" type="presParOf" srcId="{67CAF0F0-11C7-41D4-B458-17DD1ACC65D7}" destId="{91EF4C2B-0965-4D66-A48D-ECB7ACAE5C2D}" srcOrd="0" destOrd="0" presId="urn:microsoft.com/office/officeart/2005/8/layout/vList5"/>
    <dgm:cxn modelId="{1130B480-DC99-4442-A31E-1F0C1BC8B270}" type="presParOf" srcId="{91EF4C2B-0965-4D66-A48D-ECB7ACAE5C2D}" destId="{4B75031E-EAE2-44AE-A204-79AAE3CD8BF2}" srcOrd="0" destOrd="0" presId="urn:microsoft.com/office/officeart/2005/8/layout/vList5"/>
    <dgm:cxn modelId="{6822B3B2-87D2-4AA0-9854-3E276510E95B}"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4F1EAED-12F8-4C94-9DF2-1077F7D30BBE}" type="doc">
      <dgm:prSet loTypeId="urn:microsoft.com/office/officeart/2005/8/layout/pList2#1" loCatId="list" qsTypeId="urn:microsoft.com/office/officeart/2005/8/quickstyle/simple1#9" qsCatId="simple" csTypeId="urn:microsoft.com/office/officeart/2005/8/colors/colorful1#6" csCatId="colorful" phldr="1"/>
      <dgm:spPr/>
      <dgm:t>
        <a:bodyPr/>
        <a:lstStyle/>
        <a:p>
          <a:endParaRPr lang="it-IT"/>
        </a:p>
      </dgm:t>
    </dgm:pt>
    <dgm:pt modelId="{30F7430D-D893-41AA-AF7B-1C87C7A886D4}">
      <dgm:prSet/>
      <dgm:spPr/>
      <dgm:t>
        <a:bodyPr/>
        <a:lstStyle/>
        <a:p>
          <a:pPr rtl="0"/>
          <a:r>
            <a:rPr lang="it-IT" b="1" dirty="0" smtClean="0"/>
            <a:t>TIME LINE RICERCA ED ANALISI </a:t>
          </a:r>
          <a:endParaRPr lang="it-IT" b="1" dirty="0"/>
        </a:p>
      </dgm:t>
    </dgm:pt>
    <dgm:pt modelId="{DB29567A-9372-40EE-B198-CE2B06F793B1}" type="parTrans" cxnId="{0B649771-3FF5-44EE-9D0A-38BD13D96BFD}">
      <dgm:prSet/>
      <dgm:spPr/>
      <dgm:t>
        <a:bodyPr/>
        <a:lstStyle/>
        <a:p>
          <a:endParaRPr lang="it-IT"/>
        </a:p>
      </dgm:t>
    </dgm:pt>
    <dgm:pt modelId="{C4A87172-E5F1-4E8B-B227-4CB5521E3509}" type="sibTrans" cxnId="{0B649771-3FF5-44EE-9D0A-38BD13D96BFD}">
      <dgm:prSet/>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 modelId="{4393C6C5-800F-4AD0-9287-91F0CE3F8018}" type="pres">
      <dgm:prSet presAssocID="{D4F1EAED-12F8-4C94-9DF2-1077F7D30BBE}" presName="bkgdShp" presStyleLbl="alignAccFollowNode1" presStyleIdx="0" presStyleCnt="1"/>
      <dgm:spPr/>
    </dgm:pt>
    <dgm:pt modelId="{74C4F42C-359C-44EB-A001-40CADA2F449F}" type="pres">
      <dgm:prSet presAssocID="{D4F1EAED-12F8-4C94-9DF2-1077F7D30BBE}" presName="linComp" presStyleCnt="0"/>
      <dgm:spPr/>
    </dgm:pt>
    <dgm:pt modelId="{3E5E4DD6-A7F8-43B6-BB96-A23D2A6941E2}" type="pres">
      <dgm:prSet presAssocID="{30F7430D-D893-41AA-AF7B-1C87C7A886D4}" presName="compNode" presStyleCnt="0"/>
      <dgm:spPr/>
    </dgm:pt>
    <dgm:pt modelId="{B67DCA96-203E-4FCF-BFE0-43C97B4D268A}" type="pres">
      <dgm:prSet presAssocID="{30F7430D-D893-41AA-AF7B-1C87C7A886D4}" presName="node" presStyleLbl="node1" presStyleIdx="0" presStyleCnt="1">
        <dgm:presLayoutVars>
          <dgm:bulletEnabled val="1"/>
        </dgm:presLayoutVars>
      </dgm:prSet>
      <dgm:spPr/>
      <dgm:t>
        <a:bodyPr/>
        <a:lstStyle/>
        <a:p>
          <a:endParaRPr lang="it-IT"/>
        </a:p>
      </dgm:t>
    </dgm:pt>
    <dgm:pt modelId="{5028E46A-8ABF-46C6-A83F-C574172843C0}" type="pres">
      <dgm:prSet presAssocID="{30F7430D-D893-41AA-AF7B-1C87C7A886D4}" presName="invisiNode" presStyleLbl="node1" presStyleIdx="0" presStyleCnt="1"/>
      <dgm:spPr/>
    </dgm:pt>
    <dgm:pt modelId="{ED743BFD-89FA-49AE-B8B8-5B451728DC2D}" type="pres">
      <dgm:prSet presAssocID="{30F7430D-D893-41AA-AF7B-1C87C7A886D4}" presName="imagNode" presStyleLbl="fgImgPlace1" presStyleIdx="0" presStyleCnt="1"/>
      <dgm:spPr/>
    </dgm:pt>
  </dgm:ptLst>
  <dgm:cxnLst>
    <dgm:cxn modelId="{23E0B353-B99E-46A7-876C-49E07FEF6EE8}" type="presOf" srcId="{D4F1EAED-12F8-4C94-9DF2-1077F7D30BBE}" destId="{2463FFA6-33B0-462C-9A44-8450B0E48458}" srcOrd="0" destOrd="0" presId="urn:microsoft.com/office/officeart/2005/8/layout/pList2#1"/>
    <dgm:cxn modelId="{D3A45129-C2C8-442E-8C01-8BBF210A5F30}" type="presOf" srcId="{30F7430D-D893-41AA-AF7B-1C87C7A886D4}" destId="{B67DCA96-203E-4FCF-BFE0-43C97B4D268A}" srcOrd="0" destOrd="0" presId="urn:microsoft.com/office/officeart/2005/8/layout/pList2#1"/>
    <dgm:cxn modelId="{0B649771-3FF5-44EE-9D0A-38BD13D96BFD}" srcId="{D4F1EAED-12F8-4C94-9DF2-1077F7D30BBE}" destId="{30F7430D-D893-41AA-AF7B-1C87C7A886D4}" srcOrd="0" destOrd="0" parTransId="{DB29567A-9372-40EE-B198-CE2B06F793B1}" sibTransId="{C4A87172-E5F1-4E8B-B227-4CB5521E3509}"/>
    <dgm:cxn modelId="{2C6E770B-D185-40D3-9C6E-AB3755DFC523}" type="presParOf" srcId="{2463FFA6-33B0-462C-9A44-8450B0E48458}" destId="{4393C6C5-800F-4AD0-9287-91F0CE3F8018}" srcOrd="0" destOrd="0" presId="urn:microsoft.com/office/officeart/2005/8/layout/pList2#1"/>
    <dgm:cxn modelId="{DE51F820-29D3-4A2D-A4F9-8EF17D5AD786}" type="presParOf" srcId="{2463FFA6-33B0-462C-9A44-8450B0E48458}" destId="{74C4F42C-359C-44EB-A001-40CADA2F449F}" srcOrd="1" destOrd="0" presId="urn:microsoft.com/office/officeart/2005/8/layout/pList2#1"/>
    <dgm:cxn modelId="{08DFA1C5-34B4-4530-8BD0-6E2EB207E8D8}" type="presParOf" srcId="{74C4F42C-359C-44EB-A001-40CADA2F449F}" destId="{3E5E4DD6-A7F8-43B6-BB96-A23D2A6941E2}" srcOrd="0" destOrd="0" presId="urn:microsoft.com/office/officeart/2005/8/layout/pList2#1"/>
    <dgm:cxn modelId="{E1D9EA78-E223-4FE1-93F2-6863770FBDEB}" type="presParOf" srcId="{3E5E4DD6-A7F8-43B6-BB96-A23D2A6941E2}" destId="{B67DCA96-203E-4FCF-BFE0-43C97B4D268A}" srcOrd="0" destOrd="0" presId="urn:microsoft.com/office/officeart/2005/8/layout/pList2#1"/>
    <dgm:cxn modelId="{5244F7F2-55CC-4AB3-9D9F-AF1A21BA1373}" type="presParOf" srcId="{3E5E4DD6-A7F8-43B6-BB96-A23D2A6941E2}" destId="{5028E46A-8ABF-46C6-A83F-C574172843C0}" srcOrd="1" destOrd="0" presId="urn:microsoft.com/office/officeart/2005/8/layout/pList2#1"/>
    <dgm:cxn modelId="{5C2CFC10-356A-4821-8923-AE73E39384F2}" type="presParOf" srcId="{3E5E4DD6-A7F8-43B6-BB96-A23D2A6941E2}" destId="{ED743BFD-89FA-49AE-B8B8-5B451728DC2D}" srcOrd="2" destOrd="0" presId="urn:microsoft.com/office/officeart/2005/8/layout/pList2#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4F1EAED-12F8-4C94-9DF2-1077F7D30BBE}" type="doc">
      <dgm:prSet loTypeId="urn:microsoft.com/office/officeart/2005/8/layout/pList2#2" loCatId="list" qsTypeId="urn:microsoft.com/office/officeart/2005/8/quickstyle/simple1#10" qsCatId="simple" csTypeId="urn:microsoft.com/office/officeart/2005/8/colors/colorful1#7" csCatId="colorful" phldr="1"/>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Lst>
  <dgm:cxnLst>
    <dgm:cxn modelId="{E5F6D2F1-C0BB-41F2-A741-F2CAE87C7C46}" type="presOf" srcId="{D4F1EAED-12F8-4C94-9DF2-1077F7D30BBE}" destId="{2463FFA6-33B0-462C-9A44-8450B0E48458}" srcOrd="0" destOrd="0" presId="urn:microsoft.com/office/officeart/2005/8/layout/pList2#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2400" b="1" u="none" strike="noStrike" dirty="0" smtClean="0">
              <a:solidFill>
                <a:schemeClr val="accent1">
                  <a:lumMod val="75000"/>
                </a:schemeClr>
              </a:solidFill>
              <a:effectLst/>
            </a:rPr>
            <a:t>A che punto è la definizione della RIS 3 Sicilia: percorso svolto</a:t>
          </a:r>
          <a:endParaRPr lang="it-IT" sz="2400" b="1" dirty="0">
            <a:solidFill>
              <a:schemeClr val="accent1">
                <a:lumMod val="75000"/>
              </a:schemeClr>
            </a:solidFill>
          </a:endParaRPr>
        </a:p>
      </dgm:t>
    </dgm:pt>
    <dgm:pt modelId="{4AA17FDB-A052-4790-AE95-CF73ACE16E71}" type="parTrans" cxnId="{61C24A8C-0B83-4B1F-AD85-E5EDDAA1AC00}">
      <dgm:prSet/>
      <dgm:spPr/>
      <dgm:t>
        <a:bodyPr/>
        <a:lstStyle/>
        <a:p>
          <a:endParaRPr lang="it-IT" sz="2400"/>
        </a:p>
      </dgm:t>
    </dgm:pt>
    <dgm:pt modelId="{C167467F-04BA-4DE5-90F4-5BF53279866E}" type="sibTrans" cxnId="{61C24A8C-0B83-4B1F-AD85-E5EDDAA1AC00}">
      <dgm:prSet/>
      <dgm:spPr/>
      <dgm:t>
        <a:bodyPr/>
        <a:lstStyle/>
        <a:p>
          <a:endParaRPr lang="it-IT" sz="24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71AEE3F4-FCCE-4220-BA0B-D61FDE7AB642}"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559F480-9753-4366-9E43-E29578E84046}" type="presOf" srcId="{2BF37BE0-F1C9-4327-8D6B-194C8F2CF94F}" destId="{7D920113-6D83-4974-923F-4CAA40CA2FDB}" srcOrd="0" destOrd="0" presId="urn:microsoft.com/office/officeart/2008/layout/LinedList"/>
    <dgm:cxn modelId="{2B71F945-9EB8-498B-9977-4D77FD5A4FAC}" type="presParOf" srcId="{58FB0A67-F67A-40BA-890E-A840ED83B605}" destId="{AB26EC88-0333-42E8-B340-C2B4FE18384A}" srcOrd="0" destOrd="0" presId="urn:microsoft.com/office/officeart/2008/layout/LinedList"/>
    <dgm:cxn modelId="{B82F7302-5261-483F-8E23-C4953910939B}" type="presParOf" srcId="{58FB0A67-F67A-40BA-890E-A840ED83B605}" destId="{45792684-4DE0-4EDD-B49A-A40AB3BD4B9E}" srcOrd="1" destOrd="0" presId="urn:microsoft.com/office/officeart/2008/layout/LinedList"/>
    <dgm:cxn modelId="{EAE2ED86-D849-4136-98FF-77A350A673F6}" type="presParOf" srcId="{45792684-4DE0-4EDD-B49A-A40AB3BD4B9E}" destId="{7D920113-6D83-4974-923F-4CAA40CA2FDB}" srcOrd="0" destOrd="0" presId="urn:microsoft.com/office/officeart/2008/layout/LinedList"/>
    <dgm:cxn modelId="{8630D339-9FFC-4C0F-A4D7-C3D3A864E4E7}"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3C448BFD-0757-4526-824B-930CC0898245}" type="doc">
      <dgm:prSet loTypeId="urn:microsoft.com/office/officeart/2005/8/layout/bProcess4" loCatId="process" qsTypeId="urn:microsoft.com/office/officeart/2005/8/quickstyle/simple2" qsCatId="simple" csTypeId="urn:microsoft.com/office/officeart/2005/8/colors/accent2_1" csCatId="accent2" phldr="1"/>
      <dgm:spPr/>
      <dgm:t>
        <a:bodyPr/>
        <a:lstStyle/>
        <a:p>
          <a:endParaRPr lang="it-IT"/>
        </a:p>
      </dgm:t>
    </dgm:pt>
    <dgm:pt modelId="{AC32D306-F587-4CB9-835C-CB1C93D72DE3}">
      <dgm:prSet custT="1"/>
      <dgm:spPr/>
      <dgm:t>
        <a:bodyPr/>
        <a:lstStyle/>
        <a:p>
          <a:pPr algn="l" rtl="0">
            <a:spcAft>
              <a:spcPts val="0"/>
            </a:spcAft>
          </a:pPr>
          <a:r>
            <a:rPr lang="it-IT" sz="1400" b="1" dirty="0" smtClean="0">
              <a:solidFill>
                <a:schemeClr val="accent1"/>
              </a:solidFill>
            </a:rPr>
            <a:t>1.</a:t>
          </a:r>
          <a:r>
            <a:rPr lang="it-IT" sz="1400" b="1" dirty="0" smtClean="0"/>
            <a:t> </a:t>
          </a:r>
          <a:r>
            <a:rPr lang="it-IT" sz="1400" b="1" dirty="0" smtClean="0">
              <a:solidFill>
                <a:srgbClr val="FF0000"/>
              </a:solidFill>
            </a:rPr>
            <a:t>Azione di feedback</a:t>
          </a:r>
        </a:p>
        <a:p>
          <a:pPr algn="l" rtl="0">
            <a:spcAft>
              <a:spcPts val="0"/>
            </a:spcAft>
          </a:pPr>
          <a:r>
            <a:rPr lang="it-IT" sz="1400" b="1" dirty="0" smtClean="0">
              <a:solidFill>
                <a:srgbClr val="FF0000"/>
              </a:solidFill>
            </a:rPr>
            <a:t>    e di restituzione</a:t>
          </a:r>
        </a:p>
        <a:p>
          <a:pPr algn="l" rtl="0">
            <a:spcAft>
              <a:spcPct val="35000"/>
            </a:spcAft>
          </a:pPr>
          <a:r>
            <a:rPr lang="it-IT" sz="1400" b="1" dirty="0" smtClean="0">
              <a:solidFill>
                <a:srgbClr val="FF0000"/>
              </a:solidFill>
            </a:rPr>
            <a:t>    (Laboratorio)</a:t>
          </a:r>
          <a:endParaRPr lang="it-IT" sz="1400" b="1" i="0" dirty="0">
            <a:solidFill>
              <a:srgbClr val="FF0000"/>
            </a:solidFill>
          </a:endParaRPr>
        </a:p>
      </dgm:t>
    </dgm:pt>
    <dgm:pt modelId="{B20F7F9E-EF1F-4DD8-ABB2-53771A1A10E3}" type="parTrans" cxnId="{71593942-5520-489A-BCAA-B9EF37EDB689}">
      <dgm:prSet/>
      <dgm:spPr/>
      <dgm:t>
        <a:bodyPr/>
        <a:lstStyle/>
        <a:p>
          <a:endParaRPr lang="it-IT"/>
        </a:p>
      </dgm:t>
    </dgm:pt>
    <dgm:pt modelId="{B16A180A-39BC-4A8E-AF29-C5D023E10D29}" type="sibTrans" cxnId="{71593942-5520-489A-BCAA-B9EF37EDB689}">
      <dgm:prSet/>
      <dgm:spPr/>
      <dgm:t>
        <a:bodyPr/>
        <a:lstStyle/>
        <a:p>
          <a:endParaRPr lang="it-IT"/>
        </a:p>
      </dgm:t>
    </dgm:pt>
    <dgm:pt modelId="{5178DB71-92E8-4E6E-90FB-FCABDCA37DAD}">
      <dgm:prSet custT="1"/>
      <dgm:spPr/>
      <dgm:t>
        <a:bodyPr/>
        <a:lstStyle/>
        <a:p>
          <a:pPr algn="l" rtl="0">
            <a:spcAft>
              <a:spcPts val="0"/>
            </a:spcAft>
          </a:pPr>
          <a:r>
            <a:rPr lang="it-IT" sz="1400" b="1" dirty="0" smtClean="0">
              <a:solidFill>
                <a:schemeClr val="accent1"/>
              </a:solidFill>
            </a:rPr>
            <a:t>2.Individuazione ambiti di</a:t>
          </a:r>
        </a:p>
        <a:p>
          <a:pPr algn="l" rtl="0">
            <a:spcAft>
              <a:spcPct val="35000"/>
            </a:spcAft>
          </a:pPr>
          <a:r>
            <a:rPr lang="it-IT" sz="1400" b="1" dirty="0" smtClean="0">
              <a:solidFill>
                <a:schemeClr val="accent1"/>
              </a:solidFill>
            </a:rPr>
            <a:t>   </a:t>
          </a:r>
          <a:r>
            <a:rPr lang="it-IT" sz="1400" b="1" dirty="0" err="1" smtClean="0">
              <a:solidFill>
                <a:schemeClr val="accent1"/>
              </a:solidFill>
            </a:rPr>
            <a:t>governance</a:t>
          </a:r>
          <a:r>
            <a:rPr lang="it-IT" sz="1400" b="1" dirty="0" smtClean="0">
              <a:solidFill>
                <a:schemeClr val="accent1"/>
              </a:solidFill>
            </a:rPr>
            <a:t> territoriale</a:t>
          </a:r>
          <a:endParaRPr lang="it-IT" sz="1400" b="1" dirty="0">
            <a:solidFill>
              <a:schemeClr val="accent1"/>
            </a:solidFill>
          </a:endParaRPr>
        </a:p>
      </dgm:t>
    </dgm:pt>
    <dgm:pt modelId="{A79728ED-4D5B-48E8-A395-AA1E8635C4CF}" type="parTrans" cxnId="{1383E022-21B6-4AB3-A55F-94557F5BD9CA}">
      <dgm:prSet/>
      <dgm:spPr/>
      <dgm:t>
        <a:bodyPr/>
        <a:lstStyle/>
        <a:p>
          <a:endParaRPr lang="it-IT"/>
        </a:p>
      </dgm:t>
    </dgm:pt>
    <dgm:pt modelId="{CA6F4989-C138-40A9-8AF5-A514917E80A6}" type="sibTrans" cxnId="{1383E022-21B6-4AB3-A55F-94557F5BD9CA}">
      <dgm:prSet/>
      <dgm:spPr/>
      <dgm:t>
        <a:bodyPr/>
        <a:lstStyle/>
        <a:p>
          <a:endParaRPr lang="it-IT"/>
        </a:p>
      </dgm:t>
    </dgm:pt>
    <dgm:pt modelId="{B8C2C0D2-FDDA-4FAB-A4E3-2B18589E9C35}">
      <dgm:prSet custT="1"/>
      <dgm:spPr/>
      <dgm:t>
        <a:bodyPr/>
        <a:lstStyle/>
        <a:p>
          <a:pPr algn="l" rtl="0">
            <a:spcAft>
              <a:spcPts val="0"/>
            </a:spcAft>
          </a:pPr>
          <a:r>
            <a:rPr lang="it-IT" sz="1400" b="1" dirty="0" smtClean="0">
              <a:solidFill>
                <a:schemeClr val="accent1"/>
              </a:solidFill>
            </a:rPr>
            <a:t>3.</a:t>
          </a:r>
          <a:r>
            <a:rPr lang="it-IT" sz="1400" b="1" dirty="0" smtClean="0"/>
            <a:t> </a:t>
          </a:r>
          <a:r>
            <a:rPr lang="it-IT" sz="1400" b="1" dirty="0" smtClean="0">
              <a:solidFill>
                <a:schemeClr val="accent1"/>
              </a:solidFill>
            </a:rPr>
            <a:t>Condivisione delle</a:t>
          </a:r>
        </a:p>
        <a:p>
          <a:pPr algn="l" rtl="0">
            <a:spcAft>
              <a:spcPts val="0"/>
            </a:spcAft>
          </a:pPr>
          <a:r>
            <a:rPr lang="it-IT" sz="1400" b="1" dirty="0" smtClean="0">
              <a:solidFill>
                <a:schemeClr val="accent1"/>
              </a:solidFill>
            </a:rPr>
            <a:t>    priorità</a:t>
          </a:r>
          <a:endParaRPr lang="it-IT" sz="1400" b="1" dirty="0">
            <a:solidFill>
              <a:schemeClr val="accent1"/>
            </a:solidFill>
          </a:endParaRPr>
        </a:p>
      </dgm:t>
    </dgm:pt>
    <dgm:pt modelId="{7902D07F-1689-4333-ADBC-08091F901300}" type="parTrans" cxnId="{6897825E-FE7D-4BF0-A9D6-7103F67B8522}">
      <dgm:prSet/>
      <dgm:spPr/>
      <dgm:t>
        <a:bodyPr/>
        <a:lstStyle/>
        <a:p>
          <a:endParaRPr lang="it-IT"/>
        </a:p>
      </dgm:t>
    </dgm:pt>
    <dgm:pt modelId="{211F9C3C-982B-4B97-B27A-1E02FBC4405E}" type="sibTrans" cxnId="{6897825E-FE7D-4BF0-A9D6-7103F67B8522}">
      <dgm:prSet/>
      <dgm:spPr/>
      <dgm:t>
        <a:bodyPr/>
        <a:lstStyle/>
        <a:p>
          <a:endParaRPr lang="it-IT"/>
        </a:p>
      </dgm:t>
    </dgm:pt>
    <dgm:pt modelId="{6C85DC61-3ACC-4522-B600-E5F022986ED7}">
      <dgm:prSet custT="1"/>
      <dgm:spPr/>
      <dgm:t>
        <a:bodyPr/>
        <a:lstStyle/>
        <a:p>
          <a:pPr algn="l" rtl="0">
            <a:spcAft>
              <a:spcPts val="0"/>
            </a:spcAft>
          </a:pPr>
          <a:r>
            <a:rPr lang="it-IT" sz="1400" b="1" dirty="0" smtClean="0">
              <a:solidFill>
                <a:schemeClr val="accent1"/>
              </a:solidFill>
            </a:rPr>
            <a:t>4.</a:t>
          </a:r>
          <a:r>
            <a:rPr lang="it-IT" sz="1400" b="1" dirty="0" smtClean="0"/>
            <a:t> </a:t>
          </a:r>
          <a:r>
            <a:rPr lang="it-IT" sz="1400" b="1" dirty="0" smtClean="0">
              <a:solidFill>
                <a:schemeClr val="accent1"/>
              </a:solidFill>
            </a:rPr>
            <a:t>Formalizzazione della </a:t>
          </a:r>
        </a:p>
        <a:p>
          <a:pPr algn="l" rtl="0">
            <a:spcAft>
              <a:spcPts val="0"/>
            </a:spcAft>
          </a:pPr>
          <a:r>
            <a:rPr lang="it-IT" sz="1400" b="1" dirty="0" smtClean="0">
              <a:solidFill>
                <a:schemeClr val="accent1"/>
              </a:solidFill>
            </a:rPr>
            <a:t>    condivisione (con appositi</a:t>
          </a:r>
        </a:p>
        <a:p>
          <a:pPr algn="l" rtl="0">
            <a:spcAft>
              <a:spcPts val="0"/>
            </a:spcAft>
          </a:pPr>
          <a:r>
            <a:rPr lang="it-IT" sz="1400" b="1" dirty="0" smtClean="0">
              <a:solidFill>
                <a:schemeClr val="accent1"/>
              </a:solidFill>
            </a:rPr>
            <a:t>    strumenti) </a:t>
          </a:r>
          <a:endParaRPr lang="it-IT" sz="1400" b="1" dirty="0">
            <a:solidFill>
              <a:schemeClr val="accent1"/>
            </a:solidFill>
          </a:endParaRPr>
        </a:p>
      </dgm:t>
    </dgm:pt>
    <dgm:pt modelId="{8EAC0061-B0A4-4CCF-A44B-3621E6D0A54B}" type="parTrans" cxnId="{B3B835FA-9690-408A-9BD4-9FCAD83F6D80}">
      <dgm:prSet/>
      <dgm:spPr/>
      <dgm:t>
        <a:bodyPr/>
        <a:lstStyle/>
        <a:p>
          <a:endParaRPr lang="it-IT"/>
        </a:p>
      </dgm:t>
    </dgm:pt>
    <dgm:pt modelId="{511CC809-372D-41E2-96F5-2F36611DD0DA}" type="sibTrans" cxnId="{B3B835FA-9690-408A-9BD4-9FCAD83F6D80}">
      <dgm:prSet/>
      <dgm:spPr/>
      <dgm:t>
        <a:bodyPr/>
        <a:lstStyle/>
        <a:p>
          <a:endParaRPr lang="it-IT"/>
        </a:p>
      </dgm:t>
    </dgm:pt>
    <dgm:pt modelId="{1C208E8C-D13C-468A-81DB-79922D5EDFCF}">
      <dgm:prSet custT="1"/>
      <dgm:spPr/>
      <dgm:t>
        <a:bodyPr/>
        <a:lstStyle/>
        <a:p>
          <a:pPr algn="l" rtl="0">
            <a:spcAft>
              <a:spcPts val="0"/>
            </a:spcAft>
          </a:pPr>
          <a:r>
            <a:rPr lang="it-IT" sz="1400" b="1" dirty="0" smtClean="0">
              <a:solidFill>
                <a:schemeClr val="accent1"/>
              </a:solidFill>
            </a:rPr>
            <a:t>5.</a:t>
          </a:r>
          <a:r>
            <a:rPr lang="it-IT" sz="1400" b="1" dirty="0" smtClean="0"/>
            <a:t> </a:t>
          </a:r>
          <a:r>
            <a:rPr lang="it-IT" sz="1400" b="1" dirty="0" smtClean="0">
              <a:solidFill>
                <a:schemeClr val="accent1"/>
              </a:solidFill>
            </a:rPr>
            <a:t>Avvio  strategia per la</a:t>
          </a:r>
        </a:p>
        <a:p>
          <a:pPr algn="l" rtl="0">
            <a:spcAft>
              <a:spcPct val="35000"/>
            </a:spcAft>
          </a:pPr>
          <a:r>
            <a:rPr lang="it-IT" sz="1400" b="1" dirty="0" smtClean="0">
              <a:solidFill>
                <a:schemeClr val="accent1"/>
              </a:solidFill>
            </a:rPr>
            <a:t>    comunicazione</a:t>
          </a:r>
        </a:p>
      </dgm:t>
    </dgm:pt>
    <dgm:pt modelId="{957039AB-CA1A-4AFD-859E-154F4DEBF527}" type="parTrans" cxnId="{DEF211D7-D1B9-491D-B1A6-293378679275}">
      <dgm:prSet/>
      <dgm:spPr/>
      <dgm:t>
        <a:bodyPr/>
        <a:lstStyle/>
        <a:p>
          <a:endParaRPr lang="it-IT"/>
        </a:p>
      </dgm:t>
    </dgm:pt>
    <dgm:pt modelId="{3C4F8C09-20F9-4991-92C5-6F766EBD406E}" type="sibTrans" cxnId="{DEF211D7-D1B9-491D-B1A6-293378679275}">
      <dgm:prSet/>
      <dgm:spPr/>
      <dgm:t>
        <a:bodyPr/>
        <a:lstStyle/>
        <a:p>
          <a:endParaRPr lang="it-IT"/>
        </a:p>
      </dgm:t>
    </dgm:pt>
    <dgm:pt modelId="{C968E210-BB32-431D-8824-0EC0C3AF4FDC}">
      <dgm:prSet custT="1"/>
      <dgm:spPr/>
      <dgm:t>
        <a:bodyPr/>
        <a:lstStyle/>
        <a:p>
          <a:pPr algn="l" rtl="0">
            <a:spcAft>
              <a:spcPts val="0"/>
            </a:spcAft>
          </a:pPr>
          <a:r>
            <a:rPr lang="it-IT" sz="1400" b="1" dirty="0" smtClean="0">
              <a:solidFill>
                <a:schemeClr val="accent1"/>
              </a:solidFill>
            </a:rPr>
            <a:t>6.</a:t>
          </a:r>
          <a:r>
            <a:rPr lang="it-IT" sz="1400" b="1" dirty="0" smtClean="0"/>
            <a:t> </a:t>
          </a:r>
          <a:r>
            <a:rPr lang="it-IT" sz="1400" b="1" dirty="0" smtClean="0">
              <a:solidFill>
                <a:schemeClr val="accent1"/>
              </a:solidFill>
            </a:rPr>
            <a:t>Costituzione di  una Unità</a:t>
          </a:r>
        </a:p>
        <a:p>
          <a:pPr algn="l" rtl="0">
            <a:spcAft>
              <a:spcPts val="0"/>
            </a:spcAft>
          </a:pPr>
          <a:r>
            <a:rPr lang="it-IT" sz="1400" b="1" dirty="0" smtClean="0">
              <a:solidFill>
                <a:schemeClr val="accent1"/>
              </a:solidFill>
            </a:rPr>
            <a:t>    tecnica con funzioni di </a:t>
          </a:r>
        </a:p>
        <a:p>
          <a:pPr algn="l" rtl="0">
            <a:spcAft>
              <a:spcPts val="0"/>
            </a:spcAft>
          </a:pPr>
          <a:r>
            <a:rPr lang="it-IT" sz="1400" b="1" dirty="0" smtClean="0">
              <a:solidFill>
                <a:schemeClr val="accent1"/>
              </a:solidFill>
            </a:rPr>
            <a:t>    indirizzo e coordinamento, </a:t>
          </a:r>
        </a:p>
        <a:p>
          <a:pPr algn="l" rtl="0">
            <a:spcAft>
              <a:spcPts val="0"/>
            </a:spcAft>
          </a:pPr>
          <a:r>
            <a:rPr lang="it-IT" sz="1400" b="1" dirty="0" smtClean="0">
              <a:solidFill>
                <a:schemeClr val="accent1"/>
              </a:solidFill>
            </a:rPr>
            <a:t>    monitoraggio e valutazione</a:t>
          </a:r>
        </a:p>
        <a:p>
          <a:pPr algn="l" rtl="0">
            <a:spcAft>
              <a:spcPts val="0"/>
            </a:spcAft>
          </a:pPr>
          <a:r>
            <a:rPr lang="it-IT" sz="1400" b="1" dirty="0" smtClean="0">
              <a:solidFill>
                <a:schemeClr val="accent1"/>
              </a:solidFill>
            </a:rPr>
            <a:t>    della Strategia</a:t>
          </a:r>
        </a:p>
      </dgm:t>
    </dgm:pt>
    <dgm:pt modelId="{5331B12E-8184-4B3D-B50D-FBBD08DC3627}" type="parTrans" cxnId="{1C90699B-20A0-4D26-AEF3-29A5C62F94DB}">
      <dgm:prSet/>
      <dgm:spPr/>
      <dgm:t>
        <a:bodyPr/>
        <a:lstStyle/>
        <a:p>
          <a:endParaRPr lang="it-IT"/>
        </a:p>
      </dgm:t>
    </dgm:pt>
    <dgm:pt modelId="{66A15AD4-475E-46F8-B414-E9103C1FB760}" type="sibTrans" cxnId="{1C90699B-20A0-4D26-AEF3-29A5C62F94DB}">
      <dgm:prSet/>
      <dgm:spPr/>
      <dgm:t>
        <a:bodyPr/>
        <a:lstStyle/>
        <a:p>
          <a:endParaRPr lang="it-IT"/>
        </a:p>
      </dgm:t>
    </dgm:pt>
    <dgm:pt modelId="{E061F05B-A45A-4F8C-AAE3-0AA46C078AD9}">
      <dgm:prSet custT="1"/>
      <dgm:spPr/>
      <dgm:t>
        <a:bodyPr/>
        <a:lstStyle/>
        <a:p>
          <a:pPr algn="l" rtl="0">
            <a:spcAft>
              <a:spcPts val="0"/>
            </a:spcAft>
          </a:pPr>
          <a:r>
            <a:rPr lang="it-IT" sz="1400" b="1" dirty="0" smtClean="0">
              <a:solidFill>
                <a:schemeClr val="accent1"/>
              </a:solidFill>
            </a:rPr>
            <a:t>7.Costituzione del Gruppo</a:t>
          </a:r>
        </a:p>
        <a:p>
          <a:pPr algn="l" rtl="0">
            <a:spcAft>
              <a:spcPct val="35000"/>
            </a:spcAft>
          </a:pPr>
          <a:r>
            <a:rPr lang="it-IT" sz="1400" b="1" dirty="0" smtClean="0">
              <a:solidFill>
                <a:schemeClr val="accent1"/>
              </a:solidFill>
            </a:rPr>
            <a:t>   di Pilotaggio</a:t>
          </a:r>
        </a:p>
      </dgm:t>
    </dgm:pt>
    <dgm:pt modelId="{16270F7E-6D1A-4187-89CC-154F4CC5750B}" type="parTrans" cxnId="{5B7572E8-4AE9-4633-8B55-68F16E43F504}">
      <dgm:prSet/>
      <dgm:spPr/>
      <dgm:t>
        <a:bodyPr/>
        <a:lstStyle/>
        <a:p>
          <a:endParaRPr lang="it-IT"/>
        </a:p>
      </dgm:t>
    </dgm:pt>
    <dgm:pt modelId="{89C05BD0-582D-4EFE-9EDB-BEC38AD8A19E}" type="sibTrans" cxnId="{5B7572E8-4AE9-4633-8B55-68F16E43F504}">
      <dgm:prSet/>
      <dgm:spPr/>
      <dgm:t>
        <a:bodyPr/>
        <a:lstStyle/>
        <a:p>
          <a:endParaRPr lang="it-IT"/>
        </a:p>
      </dgm:t>
    </dgm:pt>
    <dgm:pt modelId="{54DD2237-D68B-4BCA-B587-F38FAC87CED2}" type="pres">
      <dgm:prSet presAssocID="{3C448BFD-0757-4526-824B-930CC0898245}" presName="Name0" presStyleCnt="0">
        <dgm:presLayoutVars>
          <dgm:dir/>
          <dgm:resizeHandles/>
        </dgm:presLayoutVars>
      </dgm:prSet>
      <dgm:spPr/>
      <dgm:t>
        <a:bodyPr/>
        <a:lstStyle/>
        <a:p>
          <a:endParaRPr lang="it-IT"/>
        </a:p>
      </dgm:t>
    </dgm:pt>
    <dgm:pt modelId="{A783BA33-683E-4A38-B973-0062F99E6EF7}" type="pres">
      <dgm:prSet presAssocID="{AC32D306-F587-4CB9-835C-CB1C93D72DE3}" presName="compNode" presStyleCnt="0"/>
      <dgm:spPr/>
      <dgm:t>
        <a:bodyPr/>
        <a:lstStyle/>
        <a:p>
          <a:endParaRPr lang="it-IT"/>
        </a:p>
      </dgm:t>
    </dgm:pt>
    <dgm:pt modelId="{D7657D27-9A10-4917-95ED-E3951F569930}" type="pres">
      <dgm:prSet presAssocID="{AC32D306-F587-4CB9-835C-CB1C93D72DE3}" presName="dummyConnPt" presStyleCnt="0"/>
      <dgm:spPr/>
      <dgm:t>
        <a:bodyPr/>
        <a:lstStyle/>
        <a:p>
          <a:endParaRPr lang="it-IT"/>
        </a:p>
      </dgm:t>
    </dgm:pt>
    <dgm:pt modelId="{21061A77-D165-43D5-9ED8-B5EB9DDB2753}" type="pres">
      <dgm:prSet presAssocID="{AC32D306-F587-4CB9-835C-CB1C93D72DE3}" presName="node" presStyleLbl="node1" presStyleIdx="0" presStyleCnt="7" custScaleX="211759" custScaleY="238003">
        <dgm:presLayoutVars>
          <dgm:bulletEnabled val="1"/>
        </dgm:presLayoutVars>
      </dgm:prSet>
      <dgm:spPr/>
      <dgm:t>
        <a:bodyPr/>
        <a:lstStyle/>
        <a:p>
          <a:endParaRPr lang="it-IT"/>
        </a:p>
      </dgm:t>
    </dgm:pt>
    <dgm:pt modelId="{4CA28F2D-F759-4636-ACBD-8466D60D4E17}" type="pres">
      <dgm:prSet presAssocID="{B16A180A-39BC-4A8E-AF29-C5D023E10D29}" presName="sibTrans" presStyleLbl="bgSibTrans2D1" presStyleIdx="0" presStyleCnt="6"/>
      <dgm:spPr/>
      <dgm:t>
        <a:bodyPr/>
        <a:lstStyle/>
        <a:p>
          <a:endParaRPr lang="it-IT"/>
        </a:p>
      </dgm:t>
    </dgm:pt>
    <dgm:pt modelId="{965985CA-6772-4672-9E5D-DB2341024212}" type="pres">
      <dgm:prSet presAssocID="{5178DB71-92E8-4E6E-90FB-FCABDCA37DAD}" presName="compNode" presStyleCnt="0"/>
      <dgm:spPr/>
      <dgm:t>
        <a:bodyPr/>
        <a:lstStyle/>
        <a:p>
          <a:endParaRPr lang="it-IT"/>
        </a:p>
      </dgm:t>
    </dgm:pt>
    <dgm:pt modelId="{234B818D-D6BE-4086-8C93-6630BF61A9B9}" type="pres">
      <dgm:prSet presAssocID="{5178DB71-92E8-4E6E-90FB-FCABDCA37DAD}" presName="dummyConnPt" presStyleCnt="0"/>
      <dgm:spPr/>
      <dgm:t>
        <a:bodyPr/>
        <a:lstStyle/>
        <a:p>
          <a:endParaRPr lang="it-IT"/>
        </a:p>
      </dgm:t>
    </dgm:pt>
    <dgm:pt modelId="{CAD84E32-EB4D-4F6E-9190-AC855B3EA2A5}" type="pres">
      <dgm:prSet presAssocID="{5178DB71-92E8-4E6E-90FB-FCABDCA37DAD}" presName="node" presStyleLbl="node1" presStyleIdx="1" presStyleCnt="7" custScaleX="244567" custScaleY="149568">
        <dgm:presLayoutVars>
          <dgm:bulletEnabled val="1"/>
        </dgm:presLayoutVars>
      </dgm:prSet>
      <dgm:spPr/>
      <dgm:t>
        <a:bodyPr/>
        <a:lstStyle/>
        <a:p>
          <a:endParaRPr lang="it-IT"/>
        </a:p>
      </dgm:t>
    </dgm:pt>
    <dgm:pt modelId="{AFE62B99-C380-4A7D-A81E-0B836ACE2D97}" type="pres">
      <dgm:prSet presAssocID="{CA6F4989-C138-40A9-8AF5-A514917E80A6}" presName="sibTrans" presStyleLbl="bgSibTrans2D1" presStyleIdx="1" presStyleCnt="6"/>
      <dgm:spPr/>
      <dgm:t>
        <a:bodyPr/>
        <a:lstStyle/>
        <a:p>
          <a:endParaRPr lang="it-IT"/>
        </a:p>
      </dgm:t>
    </dgm:pt>
    <dgm:pt modelId="{5E258E68-2A87-4E6E-8E81-E1D05F73E9CB}" type="pres">
      <dgm:prSet presAssocID="{B8C2C0D2-FDDA-4FAB-A4E3-2B18589E9C35}" presName="compNode" presStyleCnt="0"/>
      <dgm:spPr/>
      <dgm:t>
        <a:bodyPr/>
        <a:lstStyle/>
        <a:p>
          <a:endParaRPr lang="it-IT"/>
        </a:p>
      </dgm:t>
    </dgm:pt>
    <dgm:pt modelId="{E081CF10-D4E2-404A-8260-B27F0747E159}" type="pres">
      <dgm:prSet presAssocID="{B8C2C0D2-FDDA-4FAB-A4E3-2B18589E9C35}" presName="dummyConnPt" presStyleCnt="0"/>
      <dgm:spPr/>
      <dgm:t>
        <a:bodyPr/>
        <a:lstStyle/>
        <a:p>
          <a:endParaRPr lang="it-IT"/>
        </a:p>
      </dgm:t>
    </dgm:pt>
    <dgm:pt modelId="{D4C33AB0-25CA-4969-A8C5-FD5F197A3E20}" type="pres">
      <dgm:prSet presAssocID="{B8C2C0D2-FDDA-4FAB-A4E3-2B18589E9C35}" presName="node" presStyleLbl="node1" presStyleIdx="2" presStyleCnt="7" custScaleX="254973" custScaleY="246385">
        <dgm:presLayoutVars>
          <dgm:bulletEnabled val="1"/>
        </dgm:presLayoutVars>
      </dgm:prSet>
      <dgm:spPr/>
      <dgm:t>
        <a:bodyPr/>
        <a:lstStyle/>
        <a:p>
          <a:endParaRPr lang="it-IT"/>
        </a:p>
      </dgm:t>
    </dgm:pt>
    <dgm:pt modelId="{2BCD11DB-F453-4B2F-B9D0-13AA9F8F954B}" type="pres">
      <dgm:prSet presAssocID="{211F9C3C-982B-4B97-B27A-1E02FBC4405E}" presName="sibTrans" presStyleLbl="bgSibTrans2D1" presStyleIdx="2" presStyleCnt="6"/>
      <dgm:spPr/>
      <dgm:t>
        <a:bodyPr/>
        <a:lstStyle/>
        <a:p>
          <a:endParaRPr lang="it-IT"/>
        </a:p>
      </dgm:t>
    </dgm:pt>
    <dgm:pt modelId="{F3465343-1F97-406F-8425-9E9BB5B849E4}" type="pres">
      <dgm:prSet presAssocID="{6C85DC61-3ACC-4522-B600-E5F022986ED7}" presName="compNode" presStyleCnt="0"/>
      <dgm:spPr/>
      <dgm:t>
        <a:bodyPr/>
        <a:lstStyle/>
        <a:p>
          <a:endParaRPr lang="it-IT"/>
        </a:p>
      </dgm:t>
    </dgm:pt>
    <dgm:pt modelId="{13055E65-0F93-4AAA-81AD-E9A6E4718EB0}" type="pres">
      <dgm:prSet presAssocID="{6C85DC61-3ACC-4522-B600-E5F022986ED7}" presName="dummyConnPt" presStyleCnt="0"/>
      <dgm:spPr/>
      <dgm:t>
        <a:bodyPr/>
        <a:lstStyle/>
        <a:p>
          <a:endParaRPr lang="it-IT"/>
        </a:p>
      </dgm:t>
    </dgm:pt>
    <dgm:pt modelId="{C5C7BDE0-612E-411D-8AB9-89A47964221E}" type="pres">
      <dgm:prSet presAssocID="{6C85DC61-3ACC-4522-B600-E5F022986ED7}" presName="node" presStyleLbl="node1" presStyleIdx="3" presStyleCnt="7" custScaleX="303919" custScaleY="207407">
        <dgm:presLayoutVars>
          <dgm:bulletEnabled val="1"/>
        </dgm:presLayoutVars>
      </dgm:prSet>
      <dgm:spPr/>
      <dgm:t>
        <a:bodyPr/>
        <a:lstStyle/>
        <a:p>
          <a:endParaRPr lang="it-IT"/>
        </a:p>
      </dgm:t>
    </dgm:pt>
    <dgm:pt modelId="{9D20F1A6-36D0-4E01-9A27-C5A6895D97F1}" type="pres">
      <dgm:prSet presAssocID="{511CC809-372D-41E2-96F5-2F36611DD0DA}" presName="sibTrans" presStyleLbl="bgSibTrans2D1" presStyleIdx="3" presStyleCnt="6"/>
      <dgm:spPr/>
      <dgm:t>
        <a:bodyPr/>
        <a:lstStyle/>
        <a:p>
          <a:endParaRPr lang="it-IT"/>
        </a:p>
      </dgm:t>
    </dgm:pt>
    <dgm:pt modelId="{DA27399E-6C27-476A-BC0A-F369CAEA63F0}" type="pres">
      <dgm:prSet presAssocID="{1C208E8C-D13C-468A-81DB-79922D5EDFCF}" presName="compNode" presStyleCnt="0"/>
      <dgm:spPr/>
      <dgm:t>
        <a:bodyPr/>
        <a:lstStyle/>
        <a:p>
          <a:endParaRPr lang="it-IT"/>
        </a:p>
      </dgm:t>
    </dgm:pt>
    <dgm:pt modelId="{DE5D780A-6EE0-4F41-9E5F-7E3AB7BF16CF}" type="pres">
      <dgm:prSet presAssocID="{1C208E8C-D13C-468A-81DB-79922D5EDFCF}" presName="dummyConnPt" presStyleCnt="0"/>
      <dgm:spPr/>
      <dgm:t>
        <a:bodyPr/>
        <a:lstStyle/>
        <a:p>
          <a:endParaRPr lang="it-IT"/>
        </a:p>
      </dgm:t>
    </dgm:pt>
    <dgm:pt modelId="{238DA9E9-3C12-47A7-AF1C-6EFA3B6BFACF}" type="pres">
      <dgm:prSet presAssocID="{1C208E8C-D13C-468A-81DB-79922D5EDFCF}" presName="node" presStyleLbl="node1" presStyleIdx="4" presStyleCnt="7" custScaleX="339830" custScaleY="178814">
        <dgm:presLayoutVars>
          <dgm:bulletEnabled val="1"/>
        </dgm:presLayoutVars>
      </dgm:prSet>
      <dgm:spPr/>
      <dgm:t>
        <a:bodyPr/>
        <a:lstStyle/>
        <a:p>
          <a:endParaRPr lang="it-IT"/>
        </a:p>
      </dgm:t>
    </dgm:pt>
    <dgm:pt modelId="{F38425E9-A09D-45A4-86DE-3B871D235AAB}" type="pres">
      <dgm:prSet presAssocID="{3C4F8C09-20F9-4991-92C5-6F766EBD406E}" presName="sibTrans" presStyleLbl="bgSibTrans2D1" presStyleIdx="4" presStyleCnt="6"/>
      <dgm:spPr/>
      <dgm:t>
        <a:bodyPr/>
        <a:lstStyle/>
        <a:p>
          <a:endParaRPr lang="it-IT"/>
        </a:p>
      </dgm:t>
    </dgm:pt>
    <dgm:pt modelId="{2C650BFA-FDD2-4ABB-A762-11AA5CF9FA72}" type="pres">
      <dgm:prSet presAssocID="{C968E210-BB32-431D-8824-0EC0C3AF4FDC}" presName="compNode" presStyleCnt="0"/>
      <dgm:spPr/>
      <dgm:t>
        <a:bodyPr/>
        <a:lstStyle/>
        <a:p>
          <a:endParaRPr lang="it-IT"/>
        </a:p>
      </dgm:t>
    </dgm:pt>
    <dgm:pt modelId="{C3081BD4-99CD-483A-AB88-BE97BB6E43C7}" type="pres">
      <dgm:prSet presAssocID="{C968E210-BB32-431D-8824-0EC0C3AF4FDC}" presName="dummyConnPt" presStyleCnt="0"/>
      <dgm:spPr/>
      <dgm:t>
        <a:bodyPr/>
        <a:lstStyle/>
        <a:p>
          <a:endParaRPr lang="it-IT"/>
        </a:p>
      </dgm:t>
    </dgm:pt>
    <dgm:pt modelId="{F7A22B34-E67D-452E-B7A3-670E43080D52}" type="pres">
      <dgm:prSet presAssocID="{C968E210-BB32-431D-8824-0EC0C3AF4FDC}" presName="node" presStyleLbl="node1" presStyleIdx="5" presStyleCnt="7" custScaleX="305646" custScaleY="254494">
        <dgm:presLayoutVars>
          <dgm:bulletEnabled val="1"/>
        </dgm:presLayoutVars>
      </dgm:prSet>
      <dgm:spPr/>
      <dgm:t>
        <a:bodyPr/>
        <a:lstStyle/>
        <a:p>
          <a:endParaRPr lang="it-IT"/>
        </a:p>
      </dgm:t>
    </dgm:pt>
    <dgm:pt modelId="{A2DC82F0-E497-49EB-AA87-BC9FF86E52AE}" type="pres">
      <dgm:prSet presAssocID="{66A15AD4-475E-46F8-B414-E9103C1FB760}" presName="sibTrans" presStyleLbl="bgSibTrans2D1" presStyleIdx="5" presStyleCnt="6"/>
      <dgm:spPr/>
      <dgm:t>
        <a:bodyPr/>
        <a:lstStyle/>
        <a:p>
          <a:endParaRPr lang="it-IT"/>
        </a:p>
      </dgm:t>
    </dgm:pt>
    <dgm:pt modelId="{3730F0D5-A128-4FC6-AD9C-3FA4B4A5738B}" type="pres">
      <dgm:prSet presAssocID="{E061F05B-A45A-4F8C-AAE3-0AA46C078AD9}" presName="compNode" presStyleCnt="0"/>
      <dgm:spPr/>
      <dgm:t>
        <a:bodyPr/>
        <a:lstStyle/>
        <a:p>
          <a:endParaRPr lang="it-IT"/>
        </a:p>
      </dgm:t>
    </dgm:pt>
    <dgm:pt modelId="{656FECEE-8AC6-4F4F-8470-98E16552EB61}" type="pres">
      <dgm:prSet presAssocID="{E061F05B-A45A-4F8C-AAE3-0AA46C078AD9}" presName="dummyConnPt" presStyleCnt="0"/>
      <dgm:spPr/>
      <dgm:t>
        <a:bodyPr/>
        <a:lstStyle/>
        <a:p>
          <a:endParaRPr lang="it-IT"/>
        </a:p>
      </dgm:t>
    </dgm:pt>
    <dgm:pt modelId="{6C2FB6B5-23EA-4C6B-B472-9E5490D7D680}" type="pres">
      <dgm:prSet presAssocID="{E061F05B-A45A-4F8C-AAE3-0AA46C078AD9}" presName="node" presStyleLbl="node1" presStyleIdx="6" presStyleCnt="7" custScaleX="266696" custScaleY="289603">
        <dgm:presLayoutVars>
          <dgm:bulletEnabled val="1"/>
        </dgm:presLayoutVars>
      </dgm:prSet>
      <dgm:spPr/>
      <dgm:t>
        <a:bodyPr/>
        <a:lstStyle/>
        <a:p>
          <a:endParaRPr lang="it-IT"/>
        </a:p>
      </dgm:t>
    </dgm:pt>
  </dgm:ptLst>
  <dgm:cxnLst>
    <dgm:cxn modelId="{CA683191-0C9A-4403-8E5A-1A4BFB32945B}" type="presOf" srcId="{B16A180A-39BC-4A8E-AF29-C5D023E10D29}" destId="{4CA28F2D-F759-4636-ACBD-8466D60D4E17}" srcOrd="0" destOrd="0" presId="urn:microsoft.com/office/officeart/2005/8/layout/bProcess4"/>
    <dgm:cxn modelId="{1383E022-21B6-4AB3-A55F-94557F5BD9CA}" srcId="{3C448BFD-0757-4526-824B-930CC0898245}" destId="{5178DB71-92E8-4E6E-90FB-FCABDCA37DAD}" srcOrd="1" destOrd="0" parTransId="{A79728ED-4D5B-48E8-A395-AA1E8635C4CF}" sibTransId="{CA6F4989-C138-40A9-8AF5-A514917E80A6}"/>
    <dgm:cxn modelId="{1E9E8BCA-0267-4C69-9CE1-4F7BBFB8A25A}" type="presOf" srcId="{511CC809-372D-41E2-96F5-2F36611DD0DA}" destId="{9D20F1A6-36D0-4E01-9A27-C5A6895D97F1}" srcOrd="0" destOrd="0" presId="urn:microsoft.com/office/officeart/2005/8/layout/bProcess4"/>
    <dgm:cxn modelId="{23CE7F49-1AAD-4347-BE7B-1149DFAABAB9}" type="presOf" srcId="{B8C2C0D2-FDDA-4FAB-A4E3-2B18589E9C35}" destId="{D4C33AB0-25CA-4969-A8C5-FD5F197A3E20}" srcOrd="0" destOrd="0" presId="urn:microsoft.com/office/officeart/2005/8/layout/bProcess4"/>
    <dgm:cxn modelId="{6897825E-FE7D-4BF0-A9D6-7103F67B8522}" srcId="{3C448BFD-0757-4526-824B-930CC0898245}" destId="{B8C2C0D2-FDDA-4FAB-A4E3-2B18589E9C35}" srcOrd="2" destOrd="0" parTransId="{7902D07F-1689-4333-ADBC-08091F901300}" sibTransId="{211F9C3C-982B-4B97-B27A-1E02FBC4405E}"/>
    <dgm:cxn modelId="{3DE5F026-33C2-48C4-893E-8F1D20A891C7}" type="presOf" srcId="{C968E210-BB32-431D-8824-0EC0C3AF4FDC}" destId="{F7A22B34-E67D-452E-B7A3-670E43080D52}" srcOrd="0" destOrd="0" presId="urn:microsoft.com/office/officeart/2005/8/layout/bProcess4"/>
    <dgm:cxn modelId="{F31D371B-B95A-4A49-94A7-D7428CFD928D}" type="presOf" srcId="{3C4F8C09-20F9-4991-92C5-6F766EBD406E}" destId="{F38425E9-A09D-45A4-86DE-3B871D235AAB}" srcOrd="0" destOrd="0" presId="urn:microsoft.com/office/officeart/2005/8/layout/bProcess4"/>
    <dgm:cxn modelId="{A6730A40-8C0C-4244-8F81-9790B17A5759}" type="presOf" srcId="{5178DB71-92E8-4E6E-90FB-FCABDCA37DAD}" destId="{CAD84E32-EB4D-4F6E-9190-AC855B3EA2A5}" srcOrd="0" destOrd="0" presId="urn:microsoft.com/office/officeart/2005/8/layout/bProcess4"/>
    <dgm:cxn modelId="{71593942-5520-489A-BCAA-B9EF37EDB689}" srcId="{3C448BFD-0757-4526-824B-930CC0898245}" destId="{AC32D306-F587-4CB9-835C-CB1C93D72DE3}" srcOrd="0" destOrd="0" parTransId="{B20F7F9E-EF1F-4DD8-ABB2-53771A1A10E3}" sibTransId="{B16A180A-39BC-4A8E-AF29-C5D023E10D29}"/>
    <dgm:cxn modelId="{CDCEC973-97D8-4B06-93E7-87C320D16720}" type="presOf" srcId="{E061F05B-A45A-4F8C-AAE3-0AA46C078AD9}" destId="{6C2FB6B5-23EA-4C6B-B472-9E5490D7D680}" srcOrd="0" destOrd="0" presId="urn:microsoft.com/office/officeart/2005/8/layout/bProcess4"/>
    <dgm:cxn modelId="{5B7572E8-4AE9-4633-8B55-68F16E43F504}" srcId="{3C448BFD-0757-4526-824B-930CC0898245}" destId="{E061F05B-A45A-4F8C-AAE3-0AA46C078AD9}" srcOrd="6" destOrd="0" parTransId="{16270F7E-6D1A-4187-89CC-154F4CC5750B}" sibTransId="{89C05BD0-582D-4EFE-9EDB-BEC38AD8A19E}"/>
    <dgm:cxn modelId="{797B5430-52A1-49DC-8D5D-532886E6ED43}" type="presOf" srcId="{CA6F4989-C138-40A9-8AF5-A514917E80A6}" destId="{AFE62B99-C380-4A7D-A81E-0B836ACE2D97}" srcOrd="0" destOrd="0" presId="urn:microsoft.com/office/officeart/2005/8/layout/bProcess4"/>
    <dgm:cxn modelId="{B3B835FA-9690-408A-9BD4-9FCAD83F6D80}" srcId="{3C448BFD-0757-4526-824B-930CC0898245}" destId="{6C85DC61-3ACC-4522-B600-E5F022986ED7}" srcOrd="3" destOrd="0" parTransId="{8EAC0061-B0A4-4CCF-A44B-3621E6D0A54B}" sibTransId="{511CC809-372D-41E2-96F5-2F36611DD0DA}"/>
    <dgm:cxn modelId="{489202AD-F3C1-46AC-B37D-36399D1BC383}" type="presOf" srcId="{66A15AD4-475E-46F8-B414-E9103C1FB760}" destId="{A2DC82F0-E497-49EB-AA87-BC9FF86E52AE}" srcOrd="0" destOrd="0" presId="urn:microsoft.com/office/officeart/2005/8/layout/bProcess4"/>
    <dgm:cxn modelId="{E4B6CB36-021A-4F7E-932A-229972E3B4A9}" type="presOf" srcId="{6C85DC61-3ACC-4522-B600-E5F022986ED7}" destId="{C5C7BDE0-612E-411D-8AB9-89A47964221E}" srcOrd="0" destOrd="0" presId="urn:microsoft.com/office/officeart/2005/8/layout/bProcess4"/>
    <dgm:cxn modelId="{496DF3E6-E627-4F2F-904D-74261794AA5D}" type="presOf" srcId="{1C208E8C-D13C-468A-81DB-79922D5EDFCF}" destId="{238DA9E9-3C12-47A7-AF1C-6EFA3B6BFACF}" srcOrd="0" destOrd="0" presId="urn:microsoft.com/office/officeart/2005/8/layout/bProcess4"/>
    <dgm:cxn modelId="{7261749B-397C-4B00-B02F-F1D65370D893}" type="presOf" srcId="{3C448BFD-0757-4526-824B-930CC0898245}" destId="{54DD2237-D68B-4BCA-B587-F38FAC87CED2}" srcOrd="0" destOrd="0" presId="urn:microsoft.com/office/officeart/2005/8/layout/bProcess4"/>
    <dgm:cxn modelId="{1C90699B-20A0-4D26-AEF3-29A5C62F94DB}" srcId="{3C448BFD-0757-4526-824B-930CC0898245}" destId="{C968E210-BB32-431D-8824-0EC0C3AF4FDC}" srcOrd="5" destOrd="0" parTransId="{5331B12E-8184-4B3D-B50D-FBBD08DC3627}" sibTransId="{66A15AD4-475E-46F8-B414-E9103C1FB760}"/>
    <dgm:cxn modelId="{E15BE448-920C-40F4-837F-3267C2330176}" type="presOf" srcId="{AC32D306-F587-4CB9-835C-CB1C93D72DE3}" destId="{21061A77-D165-43D5-9ED8-B5EB9DDB2753}" srcOrd="0" destOrd="0" presId="urn:microsoft.com/office/officeart/2005/8/layout/bProcess4"/>
    <dgm:cxn modelId="{75A7DA0A-E3F7-4B9A-9AC2-D22B063EEE6A}" type="presOf" srcId="{211F9C3C-982B-4B97-B27A-1E02FBC4405E}" destId="{2BCD11DB-F453-4B2F-B9D0-13AA9F8F954B}" srcOrd="0" destOrd="0" presId="urn:microsoft.com/office/officeart/2005/8/layout/bProcess4"/>
    <dgm:cxn modelId="{DEF211D7-D1B9-491D-B1A6-293378679275}" srcId="{3C448BFD-0757-4526-824B-930CC0898245}" destId="{1C208E8C-D13C-468A-81DB-79922D5EDFCF}" srcOrd="4" destOrd="0" parTransId="{957039AB-CA1A-4AFD-859E-154F4DEBF527}" sibTransId="{3C4F8C09-20F9-4991-92C5-6F766EBD406E}"/>
    <dgm:cxn modelId="{B26ACFDD-3D22-4173-8AD7-37CCDA4E9A7A}" type="presParOf" srcId="{54DD2237-D68B-4BCA-B587-F38FAC87CED2}" destId="{A783BA33-683E-4A38-B973-0062F99E6EF7}" srcOrd="0" destOrd="0" presId="urn:microsoft.com/office/officeart/2005/8/layout/bProcess4"/>
    <dgm:cxn modelId="{524B6DAD-6ECE-422D-A200-44EBC03C6C81}" type="presParOf" srcId="{A783BA33-683E-4A38-B973-0062F99E6EF7}" destId="{D7657D27-9A10-4917-95ED-E3951F569930}" srcOrd="0" destOrd="0" presId="urn:microsoft.com/office/officeart/2005/8/layout/bProcess4"/>
    <dgm:cxn modelId="{FCF3B7CC-1646-42DF-9D64-DC72BEE7BE27}" type="presParOf" srcId="{A783BA33-683E-4A38-B973-0062F99E6EF7}" destId="{21061A77-D165-43D5-9ED8-B5EB9DDB2753}" srcOrd="1" destOrd="0" presId="urn:microsoft.com/office/officeart/2005/8/layout/bProcess4"/>
    <dgm:cxn modelId="{C226FDC8-22DD-4251-8E82-0BF5BA9F7E88}" type="presParOf" srcId="{54DD2237-D68B-4BCA-B587-F38FAC87CED2}" destId="{4CA28F2D-F759-4636-ACBD-8466D60D4E17}" srcOrd="1" destOrd="0" presId="urn:microsoft.com/office/officeart/2005/8/layout/bProcess4"/>
    <dgm:cxn modelId="{C6222D3A-48B4-4F2B-84A4-9AFC5CF6EE5E}" type="presParOf" srcId="{54DD2237-D68B-4BCA-B587-F38FAC87CED2}" destId="{965985CA-6772-4672-9E5D-DB2341024212}" srcOrd="2" destOrd="0" presId="urn:microsoft.com/office/officeart/2005/8/layout/bProcess4"/>
    <dgm:cxn modelId="{BBF5A4E8-F209-4D85-AD74-CD0BF246A8C5}" type="presParOf" srcId="{965985CA-6772-4672-9E5D-DB2341024212}" destId="{234B818D-D6BE-4086-8C93-6630BF61A9B9}" srcOrd="0" destOrd="0" presId="urn:microsoft.com/office/officeart/2005/8/layout/bProcess4"/>
    <dgm:cxn modelId="{0504F46F-D6AA-48DE-9557-EA37A0C5BB56}" type="presParOf" srcId="{965985CA-6772-4672-9E5D-DB2341024212}" destId="{CAD84E32-EB4D-4F6E-9190-AC855B3EA2A5}" srcOrd="1" destOrd="0" presId="urn:microsoft.com/office/officeart/2005/8/layout/bProcess4"/>
    <dgm:cxn modelId="{A33CAB80-9883-4A05-80B1-A9352503D8D3}" type="presParOf" srcId="{54DD2237-D68B-4BCA-B587-F38FAC87CED2}" destId="{AFE62B99-C380-4A7D-A81E-0B836ACE2D97}" srcOrd="3" destOrd="0" presId="urn:microsoft.com/office/officeart/2005/8/layout/bProcess4"/>
    <dgm:cxn modelId="{22451740-6E1D-4E0B-B885-D726A8F9EBE1}" type="presParOf" srcId="{54DD2237-D68B-4BCA-B587-F38FAC87CED2}" destId="{5E258E68-2A87-4E6E-8E81-E1D05F73E9CB}" srcOrd="4" destOrd="0" presId="urn:microsoft.com/office/officeart/2005/8/layout/bProcess4"/>
    <dgm:cxn modelId="{19F41C23-EE82-458D-80A2-083E96FC420E}" type="presParOf" srcId="{5E258E68-2A87-4E6E-8E81-E1D05F73E9CB}" destId="{E081CF10-D4E2-404A-8260-B27F0747E159}" srcOrd="0" destOrd="0" presId="urn:microsoft.com/office/officeart/2005/8/layout/bProcess4"/>
    <dgm:cxn modelId="{7CBAF086-11D8-40BB-BBFE-6282B801A726}" type="presParOf" srcId="{5E258E68-2A87-4E6E-8E81-E1D05F73E9CB}" destId="{D4C33AB0-25CA-4969-A8C5-FD5F197A3E20}" srcOrd="1" destOrd="0" presId="urn:microsoft.com/office/officeart/2005/8/layout/bProcess4"/>
    <dgm:cxn modelId="{9A675E12-0198-43B9-9746-0E75D4BF292D}" type="presParOf" srcId="{54DD2237-D68B-4BCA-B587-F38FAC87CED2}" destId="{2BCD11DB-F453-4B2F-B9D0-13AA9F8F954B}" srcOrd="5" destOrd="0" presId="urn:microsoft.com/office/officeart/2005/8/layout/bProcess4"/>
    <dgm:cxn modelId="{7BB044CE-AF7A-4871-9E64-09399F937A05}" type="presParOf" srcId="{54DD2237-D68B-4BCA-B587-F38FAC87CED2}" destId="{F3465343-1F97-406F-8425-9E9BB5B849E4}" srcOrd="6" destOrd="0" presId="urn:microsoft.com/office/officeart/2005/8/layout/bProcess4"/>
    <dgm:cxn modelId="{D0610AA3-358C-4BD5-9E37-7E1169976D62}" type="presParOf" srcId="{F3465343-1F97-406F-8425-9E9BB5B849E4}" destId="{13055E65-0F93-4AAA-81AD-E9A6E4718EB0}" srcOrd="0" destOrd="0" presId="urn:microsoft.com/office/officeart/2005/8/layout/bProcess4"/>
    <dgm:cxn modelId="{DE6AEB51-CF30-4459-82C4-14B9741350E5}" type="presParOf" srcId="{F3465343-1F97-406F-8425-9E9BB5B849E4}" destId="{C5C7BDE0-612E-411D-8AB9-89A47964221E}" srcOrd="1" destOrd="0" presId="urn:microsoft.com/office/officeart/2005/8/layout/bProcess4"/>
    <dgm:cxn modelId="{A14575D9-E904-44AF-B5A3-7E09504D6A79}" type="presParOf" srcId="{54DD2237-D68B-4BCA-B587-F38FAC87CED2}" destId="{9D20F1A6-36D0-4E01-9A27-C5A6895D97F1}" srcOrd="7" destOrd="0" presId="urn:microsoft.com/office/officeart/2005/8/layout/bProcess4"/>
    <dgm:cxn modelId="{AD068C8D-6F34-492A-928B-990DD58616C8}" type="presParOf" srcId="{54DD2237-D68B-4BCA-B587-F38FAC87CED2}" destId="{DA27399E-6C27-476A-BC0A-F369CAEA63F0}" srcOrd="8" destOrd="0" presId="urn:microsoft.com/office/officeart/2005/8/layout/bProcess4"/>
    <dgm:cxn modelId="{1DD5FFB4-E6CB-43E4-A0ED-44F2EE1A0C64}" type="presParOf" srcId="{DA27399E-6C27-476A-BC0A-F369CAEA63F0}" destId="{DE5D780A-6EE0-4F41-9E5F-7E3AB7BF16CF}" srcOrd="0" destOrd="0" presId="urn:microsoft.com/office/officeart/2005/8/layout/bProcess4"/>
    <dgm:cxn modelId="{AE5FF7C5-0B6A-4D96-9031-ECE2AE441B7A}" type="presParOf" srcId="{DA27399E-6C27-476A-BC0A-F369CAEA63F0}" destId="{238DA9E9-3C12-47A7-AF1C-6EFA3B6BFACF}" srcOrd="1" destOrd="0" presId="urn:microsoft.com/office/officeart/2005/8/layout/bProcess4"/>
    <dgm:cxn modelId="{E45B41A4-B7C1-48B8-95CC-5FE4426F83F9}" type="presParOf" srcId="{54DD2237-D68B-4BCA-B587-F38FAC87CED2}" destId="{F38425E9-A09D-45A4-86DE-3B871D235AAB}" srcOrd="9" destOrd="0" presId="urn:microsoft.com/office/officeart/2005/8/layout/bProcess4"/>
    <dgm:cxn modelId="{FF74AA57-C493-40DC-B2E2-40BFDFC749B1}" type="presParOf" srcId="{54DD2237-D68B-4BCA-B587-F38FAC87CED2}" destId="{2C650BFA-FDD2-4ABB-A762-11AA5CF9FA72}" srcOrd="10" destOrd="0" presId="urn:microsoft.com/office/officeart/2005/8/layout/bProcess4"/>
    <dgm:cxn modelId="{3C04E73D-39BC-4EAB-954F-9C1E4B0D3806}" type="presParOf" srcId="{2C650BFA-FDD2-4ABB-A762-11AA5CF9FA72}" destId="{C3081BD4-99CD-483A-AB88-BE97BB6E43C7}" srcOrd="0" destOrd="0" presId="urn:microsoft.com/office/officeart/2005/8/layout/bProcess4"/>
    <dgm:cxn modelId="{17AD0A13-1517-46BD-8762-DBA66211E792}" type="presParOf" srcId="{2C650BFA-FDD2-4ABB-A762-11AA5CF9FA72}" destId="{F7A22B34-E67D-452E-B7A3-670E43080D52}" srcOrd="1" destOrd="0" presId="urn:microsoft.com/office/officeart/2005/8/layout/bProcess4"/>
    <dgm:cxn modelId="{506CE0DF-F64A-4959-8391-5D033AF3E3C2}" type="presParOf" srcId="{54DD2237-D68B-4BCA-B587-F38FAC87CED2}" destId="{A2DC82F0-E497-49EB-AA87-BC9FF86E52AE}" srcOrd="11" destOrd="0" presId="urn:microsoft.com/office/officeart/2005/8/layout/bProcess4"/>
    <dgm:cxn modelId="{48FD29D8-3009-4D0D-AD87-62B8AEB58686}" type="presParOf" srcId="{54DD2237-D68B-4BCA-B587-F38FAC87CED2}" destId="{3730F0D5-A128-4FC6-AD9C-3FA4B4A5738B}" srcOrd="12" destOrd="0" presId="urn:microsoft.com/office/officeart/2005/8/layout/bProcess4"/>
    <dgm:cxn modelId="{EBB70899-8FF8-4FC3-8D78-BBE883EA5C5C}" type="presParOf" srcId="{3730F0D5-A128-4FC6-AD9C-3FA4B4A5738B}" destId="{656FECEE-8AC6-4F4F-8470-98E16552EB61}" srcOrd="0" destOrd="0" presId="urn:microsoft.com/office/officeart/2005/8/layout/bProcess4"/>
    <dgm:cxn modelId="{1CD13AA5-0AD6-4242-9E18-A609F3B801C2}" type="presParOf" srcId="{3730F0D5-A128-4FC6-AD9C-3FA4B4A5738B}" destId="{6C2FB6B5-23EA-4C6B-B472-9E5490D7D680}" srcOrd="1" destOrd="0" presId="urn:microsoft.com/office/officeart/2005/8/layout/b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45A60A9E-F327-4D1B-A2A6-269D07F7FB51}" type="doc">
      <dgm:prSet loTypeId="urn:microsoft.com/office/officeart/2008/layout/LinedList" loCatId="list" qsTypeId="urn:microsoft.com/office/officeart/2005/8/quickstyle/simple2" qsCatId="simple" csTypeId="urn:microsoft.com/office/officeart/2005/8/colors/colorful1#4" csCatId="colorful" phldr="1"/>
      <dgm:spPr/>
      <dgm:t>
        <a:bodyPr/>
        <a:lstStyle/>
        <a:p>
          <a:endParaRPr lang="it-IT"/>
        </a:p>
      </dgm:t>
    </dgm:pt>
    <dgm:pt modelId="{860BC524-CB4E-449F-9E17-7331014936FF}">
      <dgm:prSet custT="1"/>
      <dgm:spPr/>
      <dgm:t>
        <a:bodyPr/>
        <a:lstStyle/>
        <a:p>
          <a:pPr algn="ctr" rtl="0"/>
          <a:endParaRPr lang="it-IT" sz="2000" b="1" dirty="0">
            <a:solidFill>
              <a:srgbClr val="6699FF"/>
            </a:solidFill>
            <a:effectLst/>
            <a:latin typeface="Calibri" panose="020F0502020204030204" pitchFamily="34" charset="0"/>
          </a:endParaRPr>
        </a:p>
      </dgm:t>
    </dgm:pt>
    <dgm:pt modelId="{B98F86BA-F3F4-4C34-B165-4B6B932634A0}" type="parTrans" cxnId="{212ADEFA-454E-41BA-8921-005ECD16AB2B}">
      <dgm:prSet/>
      <dgm:spPr/>
      <dgm:t>
        <a:bodyPr/>
        <a:lstStyle/>
        <a:p>
          <a:endParaRPr lang="it-IT"/>
        </a:p>
      </dgm:t>
    </dgm:pt>
    <dgm:pt modelId="{C507B813-22B7-43D7-8E81-8A689C2BA308}" type="sibTrans" cxnId="{212ADEFA-454E-41BA-8921-005ECD16AB2B}">
      <dgm:prSet/>
      <dgm:spPr/>
      <dgm:t>
        <a:bodyPr/>
        <a:lstStyle/>
        <a:p>
          <a:endParaRPr lang="it-IT"/>
        </a:p>
      </dgm:t>
    </dgm:pt>
    <dgm:pt modelId="{7AFBEA0D-DAB9-45D9-BB84-A5C85C2C81FD}" type="pres">
      <dgm:prSet presAssocID="{45A60A9E-F327-4D1B-A2A6-269D07F7FB51}" presName="vert0" presStyleCnt="0">
        <dgm:presLayoutVars>
          <dgm:dir/>
          <dgm:animOne val="branch"/>
          <dgm:animLvl val="lvl"/>
        </dgm:presLayoutVars>
      </dgm:prSet>
      <dgm:spPr/>
      <dgm:t>
        <a:bodyPr/>
        <a:lstStyle/>
        <a:p>
          <a:endParaRPr lang="it-IT"/>
        </a:p>
      </dgm:t>
    </dgm:pt>
    <dgm:pt modelId="{E237AE75-85E6-437A-8B56-910DD27A4ECE}" type="pres">
      <dgm:prSet presAssocID="{860BC524-CB4E-449F-9E17-7331014936FF}" presName="thickLine" presStyleLbl="alignNode1" presStyleIdx="0" presStyleCnt="1"/>
      <dgm:spPr/>
      <dgm:t>
        <a:bodyPr/>
        <a:lstStyle/>
        <a:p>
          <a:endParaRPr lang="it-IT"/>
        </a:p>
      </dgm:t>
    </dgm:pt>
    <dgm:pt modelId="{E5B5E04E-FCAE-4ABC-802A-9826F4A5AD51}" type="pres">
      <dgm:prSet presAssocID="{860BC524-CB4E-449F-9E17-7331014936FF}" presName="horz1" presStyleCnt="0"/>
      <dgm:spPr/>
      <dgm:t>
        <a:bodyPr/>
        <a:lstStyle/>
        <a:p>
          <a:endParaRPr lang="it-IT"/>
        </a:p>
      </dgm:t>
    </dgm:pt>
    <dgm:pt modelId="{8D8CE0C5-97D0-41BA-B185-D747D53A47F7}" type="pres">
      <dgm:prSet presAssocID="{860BC524-CB4E-449F-9E17-7331014936FF}" presName="tx1" presStyleLbl="revTx" presStyleIdx="0" presStyleCnt="1"/>
      <dgm:spPr/>
      <dgm:t>
        <a:bodyPr/>
        <a:lstStyle/>
        <a:p>
          <a:endParaRPr lang="it-IT"/>
        </a:p>
      </dgm:t>
    </dgm:pt>
    <dgm:pt modelId="{FBFC497C-9F20-4F14-9A7A-F7BDED199D3F}" type="pres">
      <dgm:prSet presAssocID="{860BC524-CB4E-449F-9E17-7331014936FF}" presName="vert1" presStyleCnt="0"/>
      <dgm:spPr/>
      <dgm:t>
        <a:bodyPr/>
        <a:lstStyle/>
        <a:p>
          <a:endParaRPr lang="it-IT"/>
        </a:p>
      </dgm:t>
    </dgm:pt>
  </dgm:ptLst>
  <dgm:cxnLst>
    <dgm:cxn modelId="{34E86E35-E4F6-469C-8BE6-308275234FAE}" type="presOf" srcId="{860BC524-CB4E-449F-9E17-7331014936FF}" destId="{8D8CE0C5-97D0-41BA-B185-D747D53A47F7}" srcOrd="0" destOrd="0" presId="urn:microsoft.com/office/officeart/2008/layout/LinedList"/>
    <dgm:cxn modelId="{212ADEFA-454E-41BA-8921-005ECD16AB2B}" srcId="{45A60A9E-F327-4D1B-A2A6-269D07F7FB51}" destId="{860BC524-CB4E-449F-9E17-7331014936FF}" srcOrd="0" destOrd="0" parTransId="{B98F86BA-F3F4-4C34-B165-4B6B932634A0}" sibTransId="{C507B813-22B7-43D7-8E81-8A689C2BA308}"/>
    <dgm:cxn modelId="{AAF6D5E1-6BB1-48A0-9020-BAC8AB383DD5}" type="presOf" srcId="{45A60A9E-F327-4D1B-A2A6-269D07F7FB51}" destId="{7AFBEA0D-DAB9-45D9-BB84-A5C85C2C81FD}" srcOrd="0" destOrd="0" presId="urn:microsoft.com/office/officeart/2008/layout/LinedList"/>
    <dgm:cxn modelId="{A3C0AA3A-C3CC-4704-A084-32FB6396CE5A}" type="presParOf" srcId="{7AFBEA0D-DAB9-45D9-BB84-A5C85C2C81FD}" destId="{E237AE75-85E6-437A-8B56-910DD27A4ECE}" srcOrd="0" destOrd="0" presId="urn:microsoft.com/office/officeart/2008/layout/LinedList"/>
    <dgm:cxn modelId="{2A793C51-9F3D-4198-B7DF-5863D73D1509}" type="presParOf" srcId="{7AFBEA0D-DAB9-45D9-BB84-A5C85C2C81FD}" destId="{E5B5E04E-FCAE-4ABC-802A-9826F4A5AD51}" srcOrd="1" destOrd="0" presId="urn:microsoft.com/office/officeart/2008/layout/LinedList"/>
    <dgm:cxn modelId="{699F7130-F762-4821-94B3-68885202F38E}" type="presParOf" srcId="{E5B5E04E-FCAE-4ABC-802A-9826F4A5AD51}" destId="{8D8CE0C5-97D0-41BA-B185-D747D53A47F7}" srcOrd="0" destOrd="0" presId="urn:microsoft.com/office/officeart/2008/layout/LinedList"/>
    <dgm:cxn modelId="{2F8591C7-CF9E-4285-AC15-C7AEBCA7EA4B}" type="presParOf" srcId="{E5B5E04E-FCAE-4ABC-802A-9826F4A5AD51}" destId="{FBFC497C-9F20-4F14-9A7A-F7BDED199D3F}"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2186144-FFE2-4B4C-AF12-1C1BBA0FC559}" type="doc">
      <dgm:prSet loTypeId="urn:microsoft.com/office/officeart/2005/8/layout/hList7#1" loCatId="list" qsTypeId="urn:microsoft.com/office/officeart/2005/8/quickstyle/simple1" qsCatId="simple" csTypeId="urn:microsoft.com/office/officeart/2005/8/colors/accent2_2" csCatId="accent2" phldr="1"/>
      <dgm:spPr/>
      <dgm:t>
        <a:bodyPr/>
        <a:lstStyle/>
        <a:p>
          <a:endParaRPr lang="it-IT"/>
        </a:p>
      </dgm:t>
    </dgm:pt>
    <dgm:pt modelId="{6CA20128-5E08-496E-A920-86907F555078}">
      <dgm:prSet custT="1"/>
      <dgm:spPr/>
      <dgm:t>
        <a:bodyPr/>
        <a:lstStyle/>
        <a:p>
          <a:pPr rtl="0"/>
          <a:endParaRPr lang="it-IT" sz="1400" b="1" dirty="0" smtClean="0">
            <a:solidFill>
              <a:srgbClr val="FFFF00"/>
            </a:solidFill>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rtl="0"/>
          <a:r>
            <a:rPr lang="it-IT" sz="1300" dirty="0" smtClean="0"/>
            <a:t>Lettura delle </a:t>
          </a:r>
          <a:r>
            <a:rPr lang="it-IT" sz="1300" b="1" dirty="0" smtClean="0">
              <a:effectLst>
                <a:outerShdw blurRad="38100" dist="38100" dir="2700000" algn="tl">
                  <a:srgbClr val="000000">
                    <a:alpha val="43137"/>
                  </a:srgbClr>
                </a:outerShdw>
              </a:effectLst>
            </a:rPr>
            <a:t>specifiche caratteristiche del territorio</a:t>
          </a:r>
          <a:r>
            <a:rPr lang="it-IT" sz="1300" dirty="0" smtClean="0"/>
            <a:t> e </a:t>
          </a:r>
          <a:r>
            <a:rPr lang="it-IT" sz="1300" b="1" dirty="0" smtClean="0">
              <a:effectLst>
                <a:outerShdw blurRad="38100" dist="38100" dir="2700000" algn="tl">
                  <a:srgbClr val="000000">
                    <a:alpha val="43137"/>
                  </a:srgbClr>
                </a:outerShdw>
              </a:effectLst>
            </a:rPr>
            <a:t>Processo di </a:t>
          </a:r>
          <a:r>
            <a:rPr lang="it-IT" sz="1300" b="1" i="1" dirty="0" smtClean="0">
              <a:effectLst>
                <a:outerShdw blurRad="38100" dist="38100" dir="2700000" algn="tl">
                  <a:srgbClr val="000000">
                    <a:alpha val="43137"/>
                  </a:srgbClr>
                </a:outerShdw>
              </a:effectLst>
            </a:rPr>
            <a:t>empowerment</a:t>
          </a:r>
          <a:r>
            <a:rPr lang="it-IT" sz="1300" b="1" dirty="0" smtClean="0">
              <a:effectLst>
                <a:outerShdw blurRad="38100" dist="38100" dir="2700000" algn="tl">
                  <a:srgbClr val="000000">
                    <a:alpha val="43137"/>
                  </a:srgbClr>
                </a:outerShdw>
              </a:effectLst>
            </a:rPr>
            <a:t> dei diversi attori regionali dell’innovazione. </a:t>
          </a:r>
          <a:endParaRPr lang="it-IT" sz="1300" dirty="0" smtClean="0"/>
        </a:p>
        <a:p>
          <a:pPr rtl="0"/>
          <a:r>
            <a:rPr lang="it-IT" sz="1300" b="1"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dirty="0" smtClean="0">
              <a:solidFill>
                <a:srgbClr val="FFFF00"/>
              </a:solidFill>
            </a:rPr>
            <a:t>.</a:t>
          </a:r>
          <a:endParaRPr lang="it-IT" sz="1200" dirty="0">
            <a:solidFill>
              <a:srgbClr val="FFFF00"/>
            </a:solidFill>
          </a:endParaRPr>
        </a:p>
      </dgm:t>
    </dgm:pt>
    <dgm:pt modelId="{7CBD2ED3-783F-4541-99BF-4BA1556DBE27}" type="parTrans" cxnId="{D5D9F402-F900-4A0C-9107-DD72A9CD00DE}">
      <dgm:prSet/>
      <dgm:spPr/>
      <dgm:t>
        <a:bodyPr/>
        <a:lstStyle/>
        <a:p>
          <a:endParaRPr lang="it-IT"/>
        </a:p>
      </dgm:t>
    </dgm:pt>
    <dgm:pt modelId="{1CF86E63-BA62-4814-9489-580DD8C545E3}" type="sibTrans" cxnId="{D5D9F402-F900-4A0C-9107-DD72A9CD00DE}">
      <dgm:prSet/>
      <dgm:spPr/>
      <dgm:t>
        <a:bodyPr/>
        <a:lstStyle/>
        <a:p>
          <a:endParaRPr lang="it-IT"/>
        </a:p>
      </dgm:t>
    </dgm:pt>
    <dgm:pt modelId="{D4902039-27C0-4D3A-A74A-9290BBD893AC}">
      <dgm:prSet custT="1"/>
      <dgm:spPr/>
      <dgm:t>
        <a:bodyPr/>
        <a:lstStyle/>
        <a:p>
          <a:pPr rtl="0"/>
          <a:endParaRPr lang="it-IT" sz="1400" b="1" dirty="0" smtClean="0">
            <a:effectLst>
              <a:outerShdw blurRad="38100" dist="38100" dir="2700000" algn="tl">
                <a:srgbClr val="000000">
                  <a:alpha val="43137"/>
                </a:srgbClr>
              </a:outerShdw>
            </a:effectLst>
          </a:endParaRPr>
        </a:p>
        <a:p>
          <a:pPr rtl="0"/>
          <a:endParaRPr lang="it-IT" sz="1400" b="1" dirty="0" smtClean="0">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INDIVIDUAZIONE DELLE LEVE CHE MUOVONO LO SVILUPPO</a:t>
          </a:r>
        </a:p>
        <a:p>
          <a:pPr rtl="0"/>
          <a:r>
            <a:rPr lang="it-IT" sz="1300" b="1" dirty="0" smtClean="0">
              <a:effectLst>
                <a:outerShdw blurRad="38100" dist="38100" dir="2700000" algn="tl">
                  <a:srgbClr val="000000">
                    <a:alpha val="43137"/>
                  </a:srgbClr>
                </a:outerShdw>
              </a:effectLst>
            </a:rPr>
            <a:t>Ruolo chiave delle cosiddette tecnologie chiave abilitanti (Key Enabling Technologies – KETs). </a:t>
          </a:r>
        </a:p>
        <a:p>
          <a:pPr rtl="0"/>
          <a:r>
            <a:rPr lang="it-IT" sz="1300" b="1" dirty="0" smtClean="0">
              <a:effectLst>
                <a:outerShdw blurRad="38100" dist="38100" dir="2700000" algn="tl">
                  <a:srgbClr val="000000">
                    <a:alpha val="43137"/>
                  </a:srgbClr>
                </a:outerShdw>
              </a:effectLst>
            </a:rPr>
            <a:t>Superamento dell’approccio basato sul tradizionale sostegno ai settori produttivi e alla ricerca </a:t>
          </a:r>
        </a:p>
      </dgm:t>
    </dgm:pt>
    <dgm:pt modelId="{714AF09A-1DD3-4FDE-9976-CA8774F8EE4A}" type="parTrans" cxnId="{BC49537D-A416-4FF1-A6D7-B13EDBA13FDE}">
      <dgm:prSet/>
      <dgm:spPr/>
      <dgm:t>
        <a:bodyPr/>
        <a:lstStyle/>
        <a:p>
          <a:endParaRPr lang="it-IT"/>
        </a:p>
      </dgm:t>
    </dgm:pt>
    <dgm:pt modelId="{217B802C-3C62-41AD-B23D-E6E896B28174}" type="sibTrans" cxnId="{BC49537D-A416-4FF1-A6D7-B13EDBA13FDE}">
      <dgm:prSet/>
      <dgm:spPr/>
      <dgm:t>
        <a:bodyPr/>
        <a:lstStyle/>
        <a:p>
          <a:endParaRPr lang="it-IT"/>
        </a:p>
      </dgm:t>
    </dgm:pt>
    <dgm:pt modelId="{E9EB10EC-045A-4DD1-AFDE-A782BCB5EB67}" type="pres">
      <dgm:prSet presAssocID="{42186144-FFE2-4B4C-AF12-1C1BBA0FC559}" presName="Name0" presStyleCnt="0">
        <dgm:presLayoutVars>
          <dgm:dir/>
          <dgm:resizeHandles val="exact"/>
        </dgm:presLayoutVars>
      </dgm:prSet>
      <dgm:spPr/>
      <dgm:t>
        <a:bodyPr/>
        <a:lstStyle/>
        <a:p>
          <a:endParaRPr lang="it-IT"/>
        </a:p>
      </dgm:t>
    </dgm:pt>
    <dgm:pt modelId="{A10E4646-191B-46B4-8568-08679650E7AC}" type="pres">
      <dgm:prSet presAssocID="{42186144-FFE2-4B4C-AF12-1C1BBA0FC559}" presName="fgShape" presStyleLbl="fgShp" presStyleIdx="0" presStyleCnt="1" custScaleX="103557" custLinFactNeighborX="-1581" custLinFactNeighborY="41026"/>
      <dgm:spPr/>
      <dgm:t>
        <a:bodyPr/>
        <a:lstStyle/>
        <a:p>
          <a:endParaRPr lang="it-IT"/>
        </a:p>
      </dgm:t>
    </dgm:pt>
    <dgm:pt modelId="{DFC2DE49-C4F7-4402-A216-D281789B7AE7}" type="pres">
      <dgm:prSet presAssocID="{42186144-FFE2-4B4C-AF12-1C1BBA0FC559}" presName="linComp" presStyleCnt="0"/>
      <dgm:spPr/>
      <dgm:t>
        <a:bodyPr/>
        <a:lstStyle/>
        <a:p>
          <a:endParaRPr lang="it-IT"/>
        </a:p>
      </dgm:t>
    </dgm:pt>
    <dgm:pt modelId="{92876CD0-F994-48ED-B42D-962AEB407CB8}" type="pres">
      <dgm:prSet presAssocID="{6CA20128-5E08-496E-A920-86907F555078}" presName="compNode" presStyleCnt="0"/>
      <dgm:spPr/>
      <dgm:t>
        <a:bodyPr/>
        <a:lstStyle/>
        <a:p>
          <a:endParaRPr lang="it-IT"/>
        </a:p>
      </dgm:t>
    </dgm:pt>
    <dgm:pt modelId="{4893B85D-E7EC-43EB-AD43-BE75F7C562F8}" type="pres">
      <dgm:prSet presAssocID="{6CA20128-5E08-496E-A920-86907F555078}" presName="bkgdShape" presStyleLbl="node1" presStyleIdx="0" presStyleCnt="2"/>
      <dgm:spPr/>
      <dgm:t>
        <a:bodyPr/>
        <a:lstStyle/>
        <a:p>
          <a:endParaRPr lang="it-IT"/>
        </a:p>
      </dgm:t>
    </dgm:pt>
    <dgm:pt modelId="{E5DBC89C-9976-4F5E-AA0D-B2438C6DC041}" type="pres">
      <dgm:prSet presAssocID="{6CA20128-5E08-496E-A920-86907F555078}" presName="nodeTx" presStyleLbl="node1" presStyleIdx="0" presStyleCnt="2">
        <dgm:presLayoutVars>
          <dgm:bulletEnabled val="1"/>
        </dgm:presLayoutVars>
      </dgm:prSet>
      <dgm:spPr/>
      <dgm:t>
        <a:bodyPr/>
        <a:lstStyle/>
        <a:p>
          <a:endParaRPr lang="it-IT"/>
        </a:p>
      </dgm:t>
    </dgm:pt>
    <dgm:pt modelId="{3D06D6EC-9F90-42FE-B2C3-BCAA3343CE2A}" type="pres">
      <dgm:prSet presAssocID="{6CA20128-5E08-496E-A920-86907F555078}" presName="invisiNode" presStyleLbl="node1" presStyleIdx="0" presStyleCnt="2"/>
      <dgm:spPr/>
      <dgm:t>
        <a:bodyPr/>
        <a:lstStyle/>
        <a:p>
          <a:endParaRPr lang="it-IT"/>
        </a:p>
      </dgm:t>
    </dgm:pt>
    <dgm:pt modelId="{D45867DB-5E57-4321-B95F-EF177612117D}" type="pres">
      <dgm:prSet presAssocID="{6CA20128-5E08-496E-A920-86907F555078}" presName="imagNode" presStyleLbl="fgImgPlace1" presStyleIdx="0" presStyleCnt="2"/>
      <dgm:spPr>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dgm:spPr>
      <dgm:t>
        <a:bodyPr/>
        <a:lstStyle/>
        <a:p>
          <a:endParaRPr lang="it-IT"/>
        </a:p>
      </dgm:t>
    </dgm:pt>
    <dgm:pt modelId="{A4C0EED3-C0CF-4935-9B8F-10CA4F25283D}" type="pres">
      <dgm:prSet presAssocID="{1CF86E63-BA62-4814-9489-580DD8C545E3}" presName="sibTrans" presStyleLbl="sibTrans2D1" presStyleIdx="0" presStyleCnt="0"/>
      <dgm:spPr/>
      <dgm:t>
        <a:bodyPr/>
        <a:lstStyle/>
        <a:p>
          <a:endParaRPr lang="it-IT"/>
        </a:p>
      </dgm:t>
    </dgm:pt>
    <dgm:pt modelId="{6A5F5854-39DA-406F-B08D-D9D49CCAF460}" type="pres">
      <dgm:prSet presAssocID="{D4902039-27C0-4D3A-A74A-9290BBD893AC}" presName="compNode" presStyleCnt="0"/>
      <dgm:spPr/>
      <dgm:t>
        <a:bodyPr/>
        <a:lstStyle/>
        <a:p>
          <a:endParaRPr lang="it-IT"/>
        </a:p>
      </dgm:t>
    </dgm:pt>
    <dgm:pt modelId="{46D4FB9A-CA69-4FE6-AE01-D6BD5549E131}" type="pres">
      <dgm:prSet presAssocID="{D4902039-27C0-4D3A-A74A-9290BBD893AC}" presName="bkgdShape" presStyleLbl="node1" presStyleIdx="1" presStyleCnt="2" custLinFactNeighborX="1871"/>
      <dgm:spPr/>
      <dgm:t>
        <a:bodyPr/>
        <a:lstStyle/>
        <a:p>
          <a:endParaRPr lang="it-IT"/>
        </a:p>
      </dgm:t>
    </dgm:pt>
    <dgm:pt modelId="{8590A6B1-FBAE-48F8-9FBD-104522464602}" type="pres">
      <dgm:prSet presAssocID="{D4902039-27C0-4D3A-A74A-9290BBD893AC}" presName="nodeTx" presStyleLbl="node1" presStyleIdx="1" presStyleCnt="2">
        <dgm:presLayoutVars>
          <dgm:bulletEnabled val="1"/>
        </dgm:presLayoutVars>
      </dgm:prSet>
      <dgm:spPr/>
      <dgm:t>
        <a:bodyPr/>
        <a:lstStyle/>
        <a:p>
          <a:endParaRPr lang="it-IT"/>
        </a:p>
      </dgm:t>
    </dgm:pt>
    <dgm:pt modelId="{02BD0F62-1430-4251-9367-F1817D788338}" type="pres">
      <dgm:prSet presAssocID="{D4902039-27C0-4D3A-A74A-9290BBD893AC}" presName="invisiNode" presStyleLbl="node1" presStyleIdx="1" presStyleCnt="2"/>
      <dgm:spPr/>
      <dgm:t>
        <a:bodyPr/>
        <a:lstStyle/>
        <a:p>
          <a:endParaRPr lang="it-IT"/>
        </a:p>
      </dgm:t>
    </dgm:pt>
    <dgm:pt modelId="{0884A0BC-1141-4228-BC39-52DFE7694685}" type="pres">
      <dgm:prSet presAssocID="{D4902039-27C0-4D3A-A74A-9290BBD893AC}" presName="imagNode" presStyleLbl="fgImgPlace1" presStyleIdx="1" presStyleCnt="2" custLinFactNeighborX="-402" custLinFactNeighborY="-2059"/>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t>
        <a:bodyPr/>
        <a:lstStyle/>
        <a:p>
          <a:endParaRPr lang="it-IT"/>
        </a:p>
      </dgm:t>
    </dgm:pt>
  </dgm:ptLst>
  <dgm:cxnLst>
    <dgm:cxn modelId="{7161567E-E48F-40FA-A50A-68A9BEF96512}" type="presOf" srcId="{6CA20128-5E08-496E-A920-86907F555078}" destId="{E5DBC89C-9976-4F5E-AA0D-B2438C6DC041}" srcOrd="1" destOrd="0" presId="urn:microsoft.com/office/officeart/2005/8/layout/hList7#1"/>
    <dgm:cxn modelId="{F5E3A3A3-4DEB-441B-B126-CFD776DABBBD}" type="presOf" srcId="{1CF86E63-BA62-4814-9489-580DD8C545E3}" destId="{A4C0EED3-C0CF-4935-9B8F-10CA4F25283D}" srcOrd="0" destOrd="0" presId="urn:microsoft.com/office/officeart/2005/8/layout/hList7#1"/>
    <dgm:cxn modelId="{FE3B5330-4BFB-431D-AC72-BEF5C1EA8235}" type="presOf" srcId="{6CA20128-5E08-496E-A920-86907F555078}" destId="{4893B85D-E7EC-43EB-AD43-BE75F7C562F8}" srcOrd="0" destOrd="0" presId="urn:microsoft.com/office/officeart/2005/8/layout/hList7#1"/>
    <dgm:cxn modelId="{B9514762-5F21-4420-8A3B-CB1870483909}" type="presOf" srcId="{D4902039-27C0-4D3A-A74A-9290BBD893AC}" destId="{8590A6B1-FBAE-48F8-9FBD-104522464602}" srcOrd="1" destOrd="0" presId="urn:microsoft.com/office/officeart/2005/8/layout/hList7#1"/>
    <dgm:cxn modelId="{BC49537D-A416-4FF1-A6D7-B13EDBA13FDE}" srcId="{42186144-FFE2-4B4C-AF12-1C1BBA0FC559}" destId="{D4902039-27C0-4D3A-A74A-9290BBD893AC}" srcOrd="1" destOrd="0" parTransId="{714AF09A-1DD3-4FDE-9976-CA8774F8EE4A}" sibTransId="{217B802C-3C62-41AD-B23D-E6E896B28174}"/>
    <dgm:cxn modelId="{35014CD3-18A7-4599-A715-8564366B2E11}" type="presOf" srcId="{D4902039-27C0-4D3A-A74A-9290BBD893AC}" destId="{46D4FB9A-CA69-4FE6-AE01-D6BD5549E131}" srcOrd="0" destOrd="0" presId="urn:microsoft.com/office/officeart/2005/8/layout/hList7#1"/>
    <dgm:cxn modelId="{F45B700C-9287-4CE8-BCAE-145579F2C96A}" type="presOf" srcId="{42186144-FFE2-4B4C-AF12-1C1BBA0FC559}" destId="{E9EB10EC-045A-4DD1-AFDE-A782BCB5EB67}" srcOrd="0" destOrd="0" presId="urn:microsoft.com/office/officeart/2005/8/layout/hList7#1"/>
    <dgm:cxn modelId="{D5D9F402-F900-4A0C-9107-DD72A9CD00DE}" srcId="{42186144-FFE2-4B4C-AF12-1C1BBA0FC559}" destId="{6CA20128-5E08-496E-A920-86907F555078}" srcOrd="0" destOrd="0" parTransId="{7CBD2ED3-783F-4541-99BF-4BA1556DBE27}" sibTransId="{1CF86E63-BA62-4814-9489-580DD8C545E3}"/>
    <dgm:cxn modelId="{BD788C22-1211-4630-AE4F-FC7AA38E8A34}" type="presParOf" srcId="{E9EB10EC-045A-4DD1-AFDE-A782BCB5EB67}" destId="{A10E4646-191B-46B4-8568-08679650E7AC}" srcOrd="0" destOrd="0" presId="urn:microsoft.com/office/officeart/2005/8/layout/hList7#1"/>
    <dgm:cxn modelId="{991FE9CB-BD52-4F8E-A23A-D3C215CD0410}" type="presParOf" srcId="{E9EB10EC-045A-4DD1-AFDE-A782BCB5EB67}" destId="{DFC2DE49-C4F7-4402-A216-D281789B7AE7}" srcOrd="1" destOrd="0" presId="urn:microsoft.com/office/officeart/2005/8/layout/hList7#1"/>
    <dgm:cxn modelId="{648FFBC5-1264-4BCC-BC9E-C1C33F027FF5}" type="presParOf" srcId="{DFC2DE49-C4F7-4402-A216-D281789B7AE7}" destId="{92876CD0-F994-48ED-B42D-962AEB407CB8}" srcOrd="0" destOrd="0" presId="urn:microsoft.com/office/officeart/2005/8/layout/hList7#1"/>
    <dgm:cxn modelId="{5D2E11D5-6201-4D8E-A37E-54B7992208E7}" type="presParOf" srcId="{92876CD0-F994-48ED-B42D-962AEB407CB8}" destId="{4893B85D-E7EC-43EB-AD43-BE75F7C562F8}" srcOrd="0" destOrd="0" presId="urn:microsoft.com/office/officeart/2005/8/layout/hList7#1"/>
    <dgm:cxn modelId="{139452FA-F4F1-401A-A0A5-26213611A584}" type="presParOf" srcId="{92876CD0-F994-48ED-B42D-962AEB407CB8}" destId="{E5DBC89C-9976-4F5E-AA0D-B2438C6DC041}" srcOrd="1" destOrd="0" presId="urn:microsoft.com/office/officeart/2005/8/layout/hList7#1"/>
    <dgm:cxn modelId="{2FC09339-2C86-4AA1-ADEA-FCFB37F50689}" type="presParOf" srcId="{92876CD0-F994-48ED-B42D-962AEB407CB8}" destId="{3D06D6EC-9F90-42FE-B2C3-BCAA3343CE2A}" srcOrd="2" destOrd="0" presId="urn:microsoft.com/office/officeart/2005/8/layout/hList7#1"/>
    <dgm:cxn modelId="{09441EFC-41D6-4B69-B224-D583DF1E43CE}" type="presParOf" srcId="{92876CD0-F994-48ED-B42D-962AEB407CB8}" destId="{D45867DB-5E57-4321-B95F-EF177612117D}" srcOrd="3" destOrd="0" presId="urn:microsoft.com/office/officeart/2005/8/layout/hList7#1"/>
    <dgm:cxn modelId="{BD31DB6B-B25D-4243-9C45-CC801E8E4100}" type="presParOf" srcId="{DFC2DE49-C4F7-4402-A216-D281789B7AE7}" destId="{A4C0EED3-C0CF-4935-9B8F-10CA4F25283D}" srcOrd="1" destOrd="0" presId="urn:microsoft.com/office/officeart/2005/8/layout/hList7#1"/>
    <dgm:cxn modelId="{F7442941-6693-434B-AA2F-CD2E89A6A73C}" type="presParOf" srcId="{DFC2DE49-C4F7-4402-A216-D281789B7AE7}" destId="{6A5F5854-39DA-406F-B08D-D9D49CCAF460}" srcOrd="2" destOrd="0" presId="urn:microsoft.com/office/officeart/2005/8/layout/hList7#1"/>
    <dgm:cxn modelId="{0590C5C9-7C42-46C0-ACEB-55DFA66AE0A2}" type="presParOf" srcId="{6A5F5854-39DA-406F-B08D-D9D49CCAF460}" destId="{46D4FB9A-CA69-4FE6-AE01-D6BD5549E131}" srcOrd="0" destOrd="0" presId="urn:microsoft.com/office/officeart/2005/8/layout/hList7#1"/>
    <dgm:cxn modelId="{5E7CD717-FBE9-4C34-8F06-BC3D43EB115B}" type="presParOf" srcId="{6A5F5854-39DA-406F-B08D-D9D49CCAF460}" destId="{8590A6B1-FBAE-48F8-9FBD-104522464602}" srcOrd="1" destOrd="0" presId="urn:microsoft.com/office/officeart/2005/8/layout/hList7#1"/>
    <dgm:cxn modelId="{AA174EE6-8696-4DB5-8B86-5B98880F1526}" type="presParOf" srcId="{6A5F5854-39DA-406F-B08D-D9D49CCAF460}" destId="{02BD0F62-1430-4251-9367-F1817D788338}" srcOrd="2" destOrd="0" presId="urn:microsoft.com/office/officeart/2005/8/layout/hList7#1"/>
    <dgm:cxn modelId="{04EBFA9D-D471-4F6B-A62F-B3A25B3FD8EF}" type="presParOf" srcId="{6A5F5854-39DA-406F-B08D-D9D49CCAF460}" destId="{0884A0BC-1141-4228-BC39-52DFE7694685}"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133BD60-A0CD-4E8D-AC30-5C3DF36BF3E5}"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it-IT"/>
        </a:p>
      </dgm:t>
    </dgm:pt>
    <dgm:pt modelId="{71F8DB7C-EFD0-46BE-A725-23EE3A48AA0A}">
      <dgm:prSet custT="1"/>
      <dgm:spPr/>
      <dgm:t>
        <a:bodyPr/>
        <a:lstStyle/>
        <a:p>
          <a:pPr algn="just" rtl="0">
            <a:lnSpc>
              <a:spcPct val="100000"/>
            </a:lnSpc>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algn="just" rtl="0">
            <a:lnSpc>
              <a:spcPct val="100000"/>
            </a:lnSpc>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algn="just" rtl="0">
            <a:lnSpc>
              <a:spcPct val="90000"/>
            </a:lnSpc>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gm:t>
    </dgm:pt>
    <dgm:pt modelId="{72665B98-35CE-4159-B57B-2C79D078C4B0}" type="parTrans" cxnId="{04051AA8-6E1D-4B54-9175-C33BA9537F05}">
      <dgm:prSet/>
      <dgm:spPr/>
      <dgm:t>
        <a:bodyPr/>
        <a:lstStyle/>
        <a:p>
          <a:endParaRPr lang="it-IT"/>
        </a:p>
      </dgm:t>
    </dgm:pt>
    <dgm:pt modelId="{529BB60C-483B-4147-8D40-24F40A32CC2E}" type="sibTrans" cxnId="{04051AA8-6E1D-4B54-9175-C33BA9537F05}">
      <dgm:prSet/>
      <dgm:spPr/>
      <dgm:t>
        <a:bodyPr/>
        <a:lstStyle/>
        <a:p>
          <a:endParaRPr lang="it-IT"/>
        </a:p>
      </dgm:t>
    </dgm:pt>
    <dgm:pt modelId="{13F8570C-D407-4C9C-8203-DDBCD5D8C302}">
      <dgm:prSet custT="1"/>
      <dgm:spPr/>
      <dgm:t>
        <a:bodyPr/>
        <a:lstStyle/>
        <a:p>
          <a:pPr algn="just" rtl="0">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algn="just" rtl="0">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algn="just" rtl="0">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gm:t>
    </dgm:pt>
    <dgm:pt modelId="{7CBDB82A-2D40-4DDC-A622-290E8FFBAC5E}" type="parTrans" cxnId="{67541689-EF41-4D3C-85EB-3F24FD44137C}">
      <dgm:prSet/>
      <dgm:spPr/>
      <dgm:t>
        <a:bodyPr/>
        <a:lstStyle/>
        <a:p>
          <a:endParaRPr lang="it-IT"/>
        </a:p>
      </dgm:t>
    </dgm:pt>
    <dgm:pt modelId="{385923A6-D033-4E5B-96FB-50693EECBDC0}" type="sibTrans" cxnId="{67541689-EF41-4D3C-85EB-3F24FD44137C}">
      <dgm:prSet/>
      <dgm:spPr/>
      <dgm:t>
        <a:bodyPr/>
        <a:lstStyle/>
        <a:p>
          <a:endParaRPr lang="it-IT"/>
        </a:p>
      </dgm:t>
    </dgm:pt>
    <dgm:pt modelId="{A109F5AF-794C-47EB-97A9-F70D426F6B51}">
      <dgm:prSet custT="1"/>
      <dgm:spPr/>
      <dgm:t>
        <a:bodyPr/>
        <a:lstStyle/>
        <a:p>
          <a:pPr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gm:t>
    </dgm:pt>
    <dgm:pt modelId="{E6221F95-C69F-41D2-BC2B-D15F2EEA40CF}" type="parTrans" cxnId="{28A0B4C7-D68E-466C-A5FB-FB14E3C52305}">
      <dgm:prSet/>
      <dgm:spPr/>
      <dgm:t>
        <a:bodyPr/>
        <a:lstStyle/>
        <a:p>
          <a:endParaRPr lang="it-IT"/>
        </a:p>
      </dgm:t>
    </dgm:pt>
    <dgm:pt modelId="{39F52CEB-9C6C-4112-9932-5EB4A276AAEE}" type="sibTrans" cxnId="{28A0B4C7-D68E-466C-A5FB-FB14E3C52305}">
      <dgm:prSet/>
      <dgm:spPr/>
      <dgm:t>
        <a:bodyPr/>
        <a:lstStyle/>
        <a:p>
          <a:endParaRPr lang="it-IT"/>
        </a:p>
      </dgm:t>
    </dgm:pt>
    <dgm:pt modelId="{6D3BF0E0-A6D5-4B17-A3EB-39B4A26BDC2B}" type="pres">
      <dgm:prSet presAssocID="{1133BD60-A0CD-4E8D-AC30-5C3DF36BF3E5}" presName="linear" presStyleCnt="0">
        <dgm:presLayoutVars>
          <dgm:dir/>
          <dgm:resizeHandles val="exact"/>
        </dgm:presLayoutVars>
      </dgm:prSet>
      <dgm:spPr/>
      <dgm:t>
        <a:bodyPr/>
        <a:lstStyle/>
        <a:p>
          <a:endParaRPr lang="it-IT"/>
        </a:p>
      </dgm:t>
    </dgm:pt>
    <dgm:pt modelId="{CA8AEC78-038F-492A-B908-010D2113C521}" type="pres">
      <dgm:prSet presAssocID="{71F8DB7C-EFD0-46BE-A725-23EE3A48AA0A}" presName="comp" presStyleCnt="0"/>
      <dgm:spPr/>
    </dgm:pt>
    <dgm:pt modelId="{29168C89-C16B-4E9B-8797-A4838073953D}" type="pres">
      <dgm:prSet presAssocID="{71F8DB7C-EFD0-46BE-A725-23EE3A48AA0A}" presName="box" presStyleLbl="node1" presStyleIdx="0" presStyleCnt="3" custScaleY="116031"/>
      <dgm:spPr/>
      <dgm:t>
        <a:bodyPr/>
        <a:lstStyle/>
        <a:p>
          <a:endParaRPr lang="it-IT"/>
        </a:p>
      </dgm:t>
    </dgm:pt>
    <dgm:pt modelId="{56706EBC-49D7-45F7-BB65-A09CF00B3AFD}" type="pres">
      <dgm:prSet presAssocID="{71F8DB7C-EFD0-46BE-A725-23EE3A48AA0A}"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t>
        <a:bodyPr/>
        <a:lstStyle/>
        <a:p>
          <a:endParaRPr lang="it-IT"/>
        </a:p>
      </dgm:t>
    </dgm:pt>
    <dgm:pt modelId="{07DD0761-820B-4475-ABC4-7AF61419E48D}" type="pres">
      <dgm:prSet presAssocID="{71F8DB7C-EFD0-46BE-A725-23EE3A48AA0A}" presName="text" presStyleLbl="node1" presStyleIdx="0" presStyleCnt="3">
        <dgm:presLayoutVars>
          <dgm:bulletEnabled val="1"/>
        </dgm:presLayoutVars>
      </dgm:prSet>
      <dgm:spPr/>
      <dgm:t>
        <a:bodyPr/>
        <a:lstStyle/>
        <a:p>
          <a:endParaRPr lang="it-IT"/>
        </a:p>
      </dgm:t>
    </dgm:pt>
    <dgm:pt modelId="{7E80BCBB-55E6-42F0-946C-3E9CCC0E0E6F}" type="pres">
      <dgm:prSet presAssocID="{529BB60C-483B-4147-8D40-24F40A32CC2E}" presName="spacer" presStyleCnt="0"/>
      <dgm:spPr/>
    </dgm:pt>
    <dgm:pt modelId="{E0FFC190-9ED4-4CE4-B454-C00B62DD686C}" type="pres">
      <dgm:prSet presAssocID="{13F8570C-D407-4C9C-8203-DDBCD5D8C302}" presName="comp" presStyleCnt="0"/>
      <dgm:spPr/>
    </dgm:pt>
    <dgm:pt modelId="{DEF0A50A-EAFC-4B73-A2B3-D743262EC1EA}" type="pres">
      <dgm:prSet presAssocID="{13F8570C-D407-4C9C-8203-DDBCD5D8C302}" presName="box" presStyleLbl="node1" presStyleIdx="1" presStyleCnt="3"/>
      <dgm:spPr/>
      <dgm:t>
        <a:bodyPr/>
        <a:lstStyle/>
        <a:p>
          <a:endParaRPr lang="it-IT"/>
        </a:p>
      </dgm:t>
    </dgm:pt>
    <dgm:pt modelId="{14850E1F-B083-46EA-B8E5-E23BCE6F199B}" type="pres">
      <dgm:prSet presAssocID="{13F8570C-D407-4C9C-8203-DDBCD5D8C302}"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dgm:spPr>
    </dgm:pt>
    <dgm:pt modelId="{E934FE83-CA18-4800-8D6D-33DB6B5DCEC5}" type="pres">
      <dgm:prSet presAssocID="{13F8570C-D407-4C9C-8203-DDBCD5D8C302}" presName="text" presStyleLbl="node1" presStyleIdx="1" presStyleCnt="3">
        <dgm:presLayoutVars>
          <dgm:bulletEnabled val="1"/>
        </dgm:presLayoutVars>
      </dgm:prSet>
      <dgm:spPr/>
      <dgm:t>
        <a:bodyPr/>
        <a:lstStyle/>
        <a:p>
          <a:endParaRPr lang="it-IT"/>
        </a:p>
      </dgm:t>
    </dgm:pt>
    <dgm:pt modelId="{813ADF44-2770-4D57-BF70-9ABFCFA72BD7}" type="pres">
      <dgm:prSet presAssocID="{385923A6-D033-4E5B-96FB-50693EECBDC0}" presName="spacer" presStyleCnt="0"/>
      <dgm:spPr/>
    </dgm:pt>
    <dgm:pt modelId="{010A942C-F660-4AE8-AA29-3AEEF53DB41B}" type="pres">
      <dgm:prSet presAssocID="{A109F5AF-794C-47EB-97A9-F70D426F6B51}" presName="comp" presStyleCnt="0"/>
      <dgm:spPr/>
    </dgm:pt>
    <dgm:pt modelId="{E58B2A6B-DCD5-4D44-B383-E5475A122E28}" type="pres">
      <dgm:prSet presAssocID="{A109F5AF-794C-47EB-97A9-F70D426F6B51}" presName="box" presStyleLbl="node1" presStyleIdx="2" presStyleCnt="3"/>
      <dgm:spPr/>
      <dgm:t>
        <a:bodyPr/>
        <a:lstStyle/>
        <a:p>
          <a:endParaRPr lang="it-IT"/>
        </a:p>
      </dgm:t>
    </dgm:pt>
    <dgm:pt modelId="{03CAC9C2-748F-4326-A0C0-01022A85A403}" type="pres">
      <dgm:prSet presAssocID="{A109F5AF-794C-47EB-97A9-F70D426F6B51}"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dgm:spPr>
    </dgm:pt>
    <dgm:pt modelId="{95D74581-BBB4-4660-B949-2FEE5FB4CC0A}" type="pres">
      <dgm:prSet presAssocID="{A109F5AF-794C-47EB-97A9-F70D426F6B51}" presName="text" presStyleLbl="node1" presStyleIdx="2" presStyleCnt="3">
        <dgm:presLayoutVars>
          <dgm:bulletEnabled val="1"/>
        </dgm:presLayoutVars>
      </dgm:prSet>
      <dgm:spPr/>
      <dgm:t>
        <a:bodyPr/>
        <a:lstStyle/>
        <a:p>
          <a:endParaRPr lang="it-IT"/>
        </a:p>
      </dgm:t>
    </dgm:pt>
  </dgm:ptLst>
  <dgm:cxnLst>
    <dgm:cxn modelId="{FBD91654-3BFE-41BA-B8C2-AFD323FA8504}" type="presOf" srcId="{A109F5AF-794C-47EB-97A9-F70D426F6B51}" destId="{95D74581-BBB4-4660-B949-2FEE5FB4CC0A}" srcOrd="1" destOrd="0" presId="urn:microsoft.com/office/officeart/2005/8/layout/vList4#1"/>
    <dgm:cxn modelId="{58EC639A-A006-416F-AD8A-62A9A6BC4E0B}" type="presOf" srcId="{1133BD60-A0CD-4E8D-AC30-5C3DF36BF3E5}" destId="{6D3BF0E0-A6D5-4B17-A3EB-39B4A26BDC2B}" srcOrd="0" destOrd="0" presId="urn:microsoft.com/office/officeart/2005/8/layout/vList4#1"/>
    <dgm:cxn modelId="{04051AA8-6E1D-4B54-9175-C33BA9537F05}" srcId="{1133BD60-A0CD-4E8D-AC30-5C3DF36BF3E5}" destId="{71F8DB7C-EFD0-46BE-A725-23EE3A48AA0A}" srcOrd="0" destOrd="0" parTransId="{72665B98-35CE-4159-B57B-2C79D078C4B0}" sibTransId="{529BB60C-483B-4147-8D40-24F40A32CC2E}"/>
    <dgm:cxn modelId="{29735430-7BA3-4488-A351-949C65D5F9B6}" type="presOf" srcId="{13F8570C-D407-4C9C-8203-DDBCD5D8C302}" destId="{DEF0A50A-EAFC-4B73-A2B3-D743262EC1EA}" srcOrd="0" destOrd="0" presId="urn:microsoft.com/office/officeart/2005/8/layout/vList4#1"/>
    <dgm:cxn modelId="{50C13C39-9F76-4F9F-A73A-B85B1CF31CEC}" type="presOf" srcId="{A109F5AF-794C-47EB-97A9-F70D426F6B51}" destId="{E58B2A6B-DCD5-4D44-B383-E5475A122E28}" srcOrd="0" destOrd="0" presId="urn:microsoft.com/office/officeart/2005/8/layout/vList4#1"/>
    <dgm:cxn modelId="{67541689-EF41-4D3C-85EB-3F24FD44137C}" srcId="{1133BD60-A0CD-4E8D-AC30-5C3DF36BF3E5}" destId="{13F8570C-D407-4C9C-8203-DDBCD5D8C302}" srcOrd="1" destOrd="0" parTransId="{7CBDB82A-2D40-4DDC-A622-290E8FFBAC5E}" sibTransId="{385923A6-D033-4E5B-96FB-50693EECBDC0}"/>
    <dgm:cxn modelId="{28A0B4C7-D68E-466C-A5FB-FB14E3C52305}" srcId="{1133BD60-A0CD-4E8D-AC30-5C3DF36BF3E5}" destId="{A109F5AF-794C-47EB-97A9-F70D426F6B51}" srcOrd="2" destOrd="0" parTransId="{E6221F95-C69F-41D2-BC2B-D15F2EEA40CF}" sibTransId="{39F52CEB-9C6C-4112-9932-5EB4A276AAEE}"/>
    <dgm:cxn modelId="{B0818D45-9DD5-45C4-8ECC-31A7B3C94594}" type="presOf" srcId="{71F8DB7C-EFD0-46BE-A725-23EE3A48AA0A}" destId="{07DD0761-820B-4475-ABC4-7AF61419E48D}" srcOrd="1" destOrd="0" presId="urn:microsoft.com/office/officeart/2005/8/layout/vList4#1"/>
    <dgm:cxn modelId="{BDFDF99F-7FA0-41B8-BDCD-98C8357DF0D3}" type="presOf" srcId="{71F8DB7C-EFD0-46BE-A725-23EE3A48AA0A}" destId="{29168C89-C16B-4E9B-8797-A4838073953D}" srcOrd="0" destOrd="0" presId="urn:microsoft.com/office/officeart/2005/8/layout/vList4#1"/>
    <dgm:cxn modelId="{117E64D7-3B61-448B-AAA8-995031748FDF}" type="presOf" srcId="{13F8570C-D407-4C9C-8203-DDBCD5D8C302}" destId="{E934FE83-CA18-4800-8D6D-33DB6B5DCEC5}" srcOrd="1" destOrd="0" presId="urn:microsoft.com/office/officeart/2005/8/layout/vList4#1"/>
    <dgm:cxn modelId="{FE9F0262-11E1-41AF-81F9-A8FB2A606248}" type="presParOf" srcId="{6D3BF0E0-A6D5-4B17-A3EB-39B4A26BDC2B}" destId="{CA8AEC78-038F-492A-B908-010D2113C521}" srcOrd="0" destOrd="0" presId="urn:microsoft.com/office/officeart/2005/8/layout/vList4#1"/>
    <dgm:cxn modelId="{424BDAA3-E529-49D6-BB40-7AA66CC85372}" type="presParOf" srcId="{CA8AEC78-038F-492A-B908-010D2113C521}" destId="{29168C89-C16B-4E9B-8797-A4838073953D}" srcOrd="0" destOrd="0" presId="urn:microsoft.com/office/officeart/2005/8/layout/vList4#1"/>
    <dgm:cxn modelId="{184D949A-386B-4F9C-ADD6-8B6747E50FDD}" type="presParOf" srcId="{CA8AEC78-038F-492A-B908-010D2113C521}" destId="{56706EBC-49D7-45F7-BB65-A09CF00B3AFD}" srcOrd="1" destOrd="0" presId="urn:microsoft.com/office/officeart/2005/8/layout/vList4#1"/>
    <dgm:cxn modelId="{3D9D458F-237F-4198-BA61-B1124038521C}" type="presParOf" srcId="{CA8AEC78-038F-492A-B908-010D2113C521}" destId="{07DD0761-820B-4475-ABC4-7AF61419E48D}" srcOrd="2" destOrd="0" presId="urn:microsoft.com/office/officeart/2005/8/layout/vList4#1"/>
    <dgm:cxn modelId="{815689DD-D480-4CEE-8D8E-D7D689172611}" type="presParOf" srcId="{6D3BF0E0-A6D5-4B17-A3EB-39B4A26BDC2B}" destId="{7E80BCBB-55E6-42F0-946C-3E9CCC0E0E6F}" srcOrd="1" destOrd="0" presId="urn:microsoft.com/office/officeart/2005/8/layout/vList4#1"/>
    <dgm:cxn modelId="{D1A4C482-2746-4F2C-BD2E-EF4FA228A8F8}" type="presParOf" srcId="{6D3BF0E0-A6D5-4B17-A3EB-39B4A26BDC2B}" destId="{E0FFC190-9ED4-4CE4-B454-C00B62DD686C}" srcOrd="2" destOrd="0" presId="urn:microsoft.com/office/officeart/2005/8/layout/vList4#1"/>
    <dgm:cxn modelId="{4F209911-613B-499C-928A-DF58E3917422}" type="presParOf" srcId="{E0FFC190-9ED4-4CE4-B454-C00B62DD686C}" destId="{DEF0A50A-EAFC-4B73-A2B3-D743262EC1EA}" srcOrd="0" destOrd="0" presId="urn:microsoft.com/office/officeart/2005/8/layout/vList4#1"/>
    <dgm:cxn modelId="{C21C30C7-6E1E-4666-B3AB-55FFB848DF06}" type="presParOf" srcId="{E0FFC190-9ED4-4CE4-B454-C00B62DD686C}" destId="{14850E1F-B083-46EA-B8E5-E23BCE6F199B}" srcOrd="1" destOrd="0" presId="urn:microsoft.com/office/officeart/2005/8/layout/vList4#1"/>
    <dgm:cxn modelId="{4DB7CC01-19B0-4E93-B16F-2982814F7E81}" type="presParOf" srcId="{E0FFC190-9ED4-4CE4-B454-C00B62DD686C}" destId="{E934FE83-CA18-4800-8D6D-33DB6B5DCEC5}" srcOrd="2" destOrd="0" presId="urn:microsoft.com/office/officeart/2005/8/layout/vList4#1"/>
    <dgm:cxn modelId="{FB1A7B89-DEEF-4754-B9D4-7D980E45C764}" type="presParOf" srcId="{6D3BF0E0-A6D5-4B17-A3EB-39B4A26BDC2B}" destId="{813ADF44-2770-4D57-BF70-9ABFCFA72BD7}" srcOrd="3" destOrd="0" presId="urn:microsoft.com/office/officeart/2005/8/layout/vList4#1"/>
    <dgm:cxn modelId="{3E86714D-04F7-4C56-98AB-6A8AFA69D1CA}" type="presParOf" srcId="{6D3BF0E0-A6D5-4B17-A3EB-39B4A26BDC2B}" destId="{010A942C-F660-4AE8-AA29-3AEEF53DB41B}" srcOrd="4" destOrd="0" presId="urn:microsoft.com/office/officeart/2005/8/layout/vList4#1"/>
    <dgm:cxn modelId="{AB8EF6C8-7015-41F5-8445-A62E7B099E12}" type="presParOf" srcId="{010A942C-F660-4AE8-AA29-3AEEF53DB41B}" destId="{E58B2A6B-DCD5-4D44-B383-E5475A122E28}" srcOrd="0" destOrd="0" presId="urn:microsoft.com/office/officeart/2005/8/layout/vList4#1"/>
    <dgm:cxn modelId="{F356E52D-9A58-47D8-AAF2-6C043F965EE0}" type="presParOf" srcId="{010A942C-F660-4AE8-AA29-3AEEF53DB41B}" destId="{03CAC9C2-748F-4326-A0C0-01022A85A403}" srcOrd="1" destOrd="0" presId="urn:microsoft.com/office/officeart/2005/8/layout/vList4#1"/>
    <dgm:cxn modelId="{7BDA59BA-B6BB-4554-B3C9-808C3302BF3B}" type="presParOf" srcId="{010A942C-F660-4AE8-AA29-3AEEF53DB41B}" destId="{95D74581-BBB4-4660-B949-2FEE5FB4CC0A}" srcOrd="2" destOrd="0" presId="urn:microsoft.com/office/officeart/2005/8/layout/vList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4915FED7-A2ED-4594-90F6-F96B4AE256E9}" type="presOf" srcId="{83267C61-1508-43DC-B21B-6C4CC85B645F}" destId="{F2B40673-4C71-4A98-9339-977C54C5A9D5}" srcOrd="2" destOrd="0" presId="urn:microsoft.com/office/officeart/2005/8/layout/gear1"/>
    <dgm:cxn modelId="{E9A4FE18-267C-4046-8C88-16D3E1D1DF5B}" type="presOf" srcId="{DB8CAAE3-2297-43B6-A573-85B61E9001B2}" destId="{128F0A60-3FF4-4381-B2EE-759ED4374620}" srcOrd="2" destOrd="0" presId="urn:microsoft.com/office/officeart/2005/8/layout/gear1"/>
    <dgm:cxn modelId="{CCE6DE63-E675-4E17-85D3-D93D433BB563}" type="presOf" srcId="{DB8CAAE3-2297-43B6-A573-85B61E9001B2}" destId="{2EE2CEB5-124D-44F5-9096-E7ECAF2F2101}" srcOrd="0" destOrd="0" presId="urn:microsoft.com/office/officeart/2005/8/layout/gear1"/>
    <dgm:cxn modelId="{5C20B3CF-3D42-442A-A51A-B3E081D12DA2}" type="presOf" srcId="{DB8CAAE3-2297-43B6-A573-85B61E9001B2}" destId="{3115EADC-B8B2-4B58-B882-7BA79A4C3E8C}" srcOrd="1" destOrd="0" presId="urn:microsoft.com/office/officeart/2005/8/layout/gear1"/>
    <dgm:cxn modelId="{1195E3F2-5428-4A2A-B577-940B77DCB5BD}" type="presOf" srcId="{83267C61-1508-43DC-B21B-6C4CC85B645F}" destId="{A805CD41-67EA-4513-9E61-A8C3D66DFD07}" srcOrd="1"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2912AC11-FE25-4665-88CA-888325CEF328}" type="presOf" srcId="{4E4C1904-5B45-41CD-B782-D4F6DF3319A5}" destId="{271AF710-52C6-4140-9C37-87300CDE1B1A}" srcOrd="0"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CF129525-2896-41A8-95B0-B72AD4EED29A}" type="presOf" srcId="{83267C61-1508-43DC-B21B-6C4CC85B645F}" destId="{48AC5F59-43C7-463B-9C6A-CEA2081E1C1C}" srcOrd="0" destOrd="0" presId="urn:microsoft.com/office/officeart/2005/8/layout/gear1"/>
    <dgm:cxn modelId="{15E32578-46C6-4EAD-BBE6-4524527B8B23}" type="presOf" srcId="{DD2A2349-D5E1-4B0B-BC4D-12DFD2A1F555}" destId="{04CEFBD9-3179-4291-917F-D814B58269B2}" srcOrd="0" destOrd="0" presId="urn:microsoft.com/office/officeart/2005/8/layout/gear1"/>
    <dgm:cxn modelId="{0A8EE7F6-3E74-4A20-8BAA-9E30102E2169}" type="presOf" srcId="{D388EEC3-03C3-47A8-890B-2496F9CBA67B}" destId="{9C58820E-B88E-42EC-B94E-53580DE862F7}" srcOrd="0" destOrd="0" presId="urn:microsoft.com/office/officeart/2005/8/layout/gear1"/>
    <dgm:cxn modelId="{1C6FE215-ED39-4503-96B6-75877BA448CC}" type="presParOf" srcId="{04CEFBD9-3179-4291-917F-D814B58269B2}" destId="{2EE2CEB5-124D-44F5-9096-E7ECAF2F2101}" srcOrd="0" destOrd="0" presId="urn:microsoft.com/office/officeart/2005/8/layout/gear1"/>
    <dgm:cxn modelId="{69F723A6-C3B5-49AA-8299-D8D3C28DDDE1}" type="presParOf" srcId="{04CEFBD9-3179-4291-917F-D814B58269B2}" destId="{3115EADC-B8B2-4B58-B882-7BA79A4C3E8C}" srcOrd="1" destOrd="0" presId="urn:microsoft.com/office/officeart/2005/8/layout/gear1"/>
    <dgm:cxn modelId="{EA852BC4-69C0-4257-A65D-CDF60393991A}" type="presParOf" srcId="{04CEFBD9-3179-4291-917F-D814B58269B2}" destId="{128F0A60-3FF4-4381-B2EE-759ED4374620}" srcOrd="2" destOrd="0" presId="urn:microsoft.com/office/officeart/2005/8/layout/gear1"/>
    <dgm:cxn modelId="{8D43B4E0-12A3-4C13-98F4-999B13D74889}" type="presParOf" srcId="{04CEFBD9-3179-4291-917F-D814B58269B2}" destId="{48AC5F59-43C7-463B-9C6A-CEA2081E1C1C}" srcOrd="3" destOrd="0" presId="urn:microsoft.com/office/officeart/2005/8/layout/gear1"/>
    <dgm:cxn modelId="{A21FA2AE-1244-49E0-BC9F-A432844E7FD8}" type="presParOf" srcId="{04CEFBD9-3179-4291-917F-D814B58269B2}" destId="{A805CD41-67EA-4513-9E61-A8C3D66DFD07}" srcOrd="4" destOrd="0" presId="urn:microsoft.com/office/officeart/2005/8/layout/gear1"/>
    <dgm:cxn modelId="{06E1EEC9-F3C2-4318-9685-F24C65B8682B}" type="presParOf" srcId="{04CEFBD9-3179-4291-917F-D814B58269B2}" destId="{F2B40673-4C71-4A98-9339-977C54C5A9D5}" srcOrd="5" destOrd="0" presId="urn:microsoft.com/office/officeart/2005/8/layout/gear1"/>
    <dgm:cxn modelId="{071E46A9-CB6C-4D84-B106-CC08B6A1F65E}" type="presParOf" srcId="{04CEFBD9-3179-4291-917F-D814B58269B2}" destId="{9C58820E-B88E-42EC-B94E-53580DE862F7}" srcOrd="6" destOrd="0" presId="urn:microsoft.com/office/officeart/2005/8/layout/gear1"/>
    <dgm:cxn modelId="{F8BA3AB9-F995-41EB-BFD0-82930CD94F84}"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65883D4C-2AED-4ACB-9CF8-280502AB01ED}" type="presOf" srcId="{E46B0764-5BD0-4874-96A3-55F283CF28ED}" destId="{FB318694-7D13-4394-9999-743EFAEC9488}" srcOrd="0" destOrd="0" presId="urn:microsoft.com/office/officeart/2005/8/layout/hChevron3"/>
    <dgm:cxn modelId="{8B17C148-C7D3-4AEA-B3D0-C9D3FE5057AF}" type="presOf" srcId="{E63ACFB1-B77F-4015-9BED-EC30BF08F771}" destId="{42458090-426A-4F00-AD2D-8E2703041A28}" srcOrd="0" destOrd="0" presId="urn:microsoft.com/office/officeart/2005/8/layout/hChevron3"/>
    <dgm:cxn modelId="{EB38DD7B-3F2C-41A1-87E8-22B0F5F058E1}" srcId="{E63ACFB1-B77F-4015-9BED-EC30BF08F771}" destId="{E46B0764-5BD0-4874-96A3-55F283CF28ED}" srcOrd="0" destOrd="0" parTransId="{B88FFC91-1F6F-4375-8676-72BE85B74A9B}" sibTransId="{0F6C585C-BEAF-403B-BAC3-5E6D53278BED}"/>
    <dgm:cxn modelId="{E97B2CE9-09DE-4AC2-A453-A38D418D27D1}"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52B061F-DC74-4240-A22D-340AC33CDB23}" type="doc">
      <dgm:prSet loTypeId="urn:microsoft.com/office/officeart/2005/8/layout/arrow5" loCatId="process" qsTypeId="urn:microsoft.com/office/officeart/2005/8/quickstyle/simple1" qsCatId="simple" csTypeId="urn:microsoft.com/office/officeart/2005/8/colors/accent2_2" csCatId="accent2" phldr="1"/>
      <dgm:spPr/>
      <dgm:t>
        <a:bodyPr/>
        <a:lstStyle/>
        <a:p>
          <a:endParaRPr lang="it-IT"/>
        </a:p>
      </dgm:t>
    </dgm:pt>
    <dgm:pt modelId="{E3533255-2487-4939-A569-78B4AEF91D4F}">
      <dgm:prSet custT="1"/>
      <dgm:spPr/>
      <dgm:t>
        <a:bodyPr/>
        <a:lstStyle/>
        <a:p>
          <a:pPr algn="ctr" rtl="0"/>
          <a:r>
            <a:rPr lang="it-IT" sz="1400" b="1" dirty="0" smtClean="0">
              <a:effectLst>
                <a:outerShdw blurRad="38100" dist="38100" dir="2700000" algn="tl">
                  <a:srgbClr val="000000">
                    <a:alpha val="43137"/>
                  </a:srgbClr>
                </a:outerShdw>
              </a:effectLst>
            </a:rPr>
            <a:t> “</a:t>
          </a:r>
          <a:r>
            <a:rPr lang="it-IT" sz="1400" b="1" i="1" dirty="0" smtClean="0">
              <a:effectLst>
                <a:outerShdw blurRad="38100" dist="38100" dir="2700000" algn="tl">
                  <a:srgbClr val="000000">
                    <a:alpha val="43137"/>
                  </a:srgbClr>
                </a:outerShdw>
              </a:effectLst>
            </a:rPr>
            <a:t>mission </a:t>
          </a:r>
          <a:r>
            <a:rPr lang="it-IT" sz="1400" b="1" i="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a:t>
          </a:r>
        </a:p>
      </dgm:t>
    </dgm:pt>
    <dgm:pt modelId="{E9969D0A-CDB0-4A59-BAAF-5BCC792EC7F5}" type="parTrans" cxnId="{FEBD9CE1-232E-4B6B-BCFC-F4C157473F17}">
      <dgm:prSet/>
      <dgm:spPr/>
      <dgm:t>
        <a:bodyPr/>
        <a:lstStyle/>
        <a:p>
          <a:endParaRPr lang="it-IT"/>
        </a:p>
      </dgm:t>
    </dgm:pt>
    <dgm:pt modelId="{1F2CE6AC-1A18-42D1-856B-F896BB37C72D}" type="sibTrans" cxnId="{FEBD9CE1-232E-4B6B-BCFC-F4C157473F17}">
      <dgm:prSet/>
      <dgm:spPr/>
      <dgm:t>
        <a:bodyPr/>
        <a:lstStyle/>
        <a:p>
          <a:endParaRPr lang="it-IT"/>
        </a:p>
      </dgm:t>
    </dgm:pt>
    <dgm:pt modelId="{303F95F6-F5B4-40BB-8507-7E1FAC1C1BC8}">
      <dgm:prSet custT="1"/>
      <dgm:spPr>
        <a:solidFill>
          <a:srgbClr val="00CC00"/>
        </a:solidFill>
      </dgm:spPr>
      <dgm:t>
        <a:bodyPr/>
        <a:lstStyle/>
        <a:p>
          <a:pPr algn="ctr" rtl="0"/>
          <a:r>
            <a:rPr lang="it-IT" sz="1400" b="1" dirty="0" smtClean="0">
              <a:effectLst>
                <a:outerShdw blurRad="38100" dist="38100" dir="2700000" algn="tl">
                  <a:srgbClr val="000000">
                    <a:alpha val="43137"/>
                  </a:srgbClr>
                </a:outerShdw>
              </a:effectLst>
            </a:rPr>
            <a:t>“</a:t>
          </a:r>
          <a:r>
            <a:rPr lang="it-IT" sz="1400" b="1" dirty="0" err="1" smtClean="0">
              <a:effectLst>
                <a:outerShdw blurRad="38100" dist="38100" dir="2700000" algn="tl">
                  <a:srgbClr val="000000">
                    <a:alpha val="43137"/>
                  </a:srgbClr>
                </a:outerShdw>
              </a:effectLst>
            </a:rPr>
            <a:t>diffusion</a:t>
          </a:r>
          <a:r>
            <a:rPr lang="it-IT" sz="1400" b="1" dirty="0" smtClean="0">
              <a:effectLst>
                <a:outerShdw blurRad="38100" dist="38100" dir="2700000" algn="tl">
                  <a:srgbClr val="000000">
                    <a:alpha val="43137"/>
                  </a:srgbClr>
                </a:outerShdw>
              </a:effectLst>
            </a:rPr>
            <a:t> </a:t>
          </a:r>
          <a:r>
            <a:rPr lang="it-IT" sz="1400" b="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 </a:t>
          </a:r>
        </a:p>
      </dgm:t>
    </dgm:pt>
    <dgm:pt modelId="{36904EFC-AAA5-459F-9286-E893C56154D8}" type="parTrans" cxnId="{76B25262-B731-4339-AB89-7760519DD432}">
      <dgm:prSet/>
      <dgm:spPr/>
      <dgm:t>
        <a:bodyPr/>
        <a:lstStyle/>
        <a:p>
          <a:endParaRPr lang="it-IT"/>
        </a:p>
      </dgm:t>
    </dgm:pt>
    <dgm:pt modelId="{C7A8447A-1584-4E9F-AE0C-5D1D88E994A8}" type="sibTrans" cxnId="{76B25262-B731-4339-AB89-7760519DD432}">
      <dgm:prSet/>
      <dgm:spPr/>
      <dgm:t>
        <a:bodyPr/>
        <a:lstStyle/>
        <a:p>
          <a:endParaRPr lang="it-IT"/>
        </a:p>
      </dgm:t>
    </dgm:pt>
    <dgm:pt modelId="{B577C3AE-C2B3-4E15-8F77-7C00215FAFC2}" type="pres">
      <dgm:prSet presAssocID="{252B061F-DC74-4240-A22D-340AC33CDB23}" presName="diagram" presStyleCnt="0">
        <dgm:presLayoutVars>
          <dgm:dir/>
          <dgm:resizeHandles val="exact"/>
        </dgm:presLayoutVars>
      </dgm:prSet>
      <dgm:spPr/>
      <dgm:t>
        <a:bodyPr/>
        <a:lstStyle/>
        <a:p>
          <a:endParaRPr lang="it-IT"/>
        </a:p>
      </dgm:t>
    </dgm:pt>
    <dgm:pt modelId="{6711C825-4C01-4010-80E5-94DE88871CFE}" type="pres">
      <dgm:prSet presAssocID="{E3533255-2487-4939-A569-78B4AEF91D4F}" presName="arrow" presStyleLbl="node1" presStyleIdx="0" presStyleCnt="2" custScaleX="23337" custScaleY="100024" custRadScaleRad="106987" custRadScaleInc="5436">
        <dgm:presLayoutVars>
          <dgm:bulletEnabled val="1"/>
        </dgm:presLayoutVars>
      </dgm:prSet>
      <dgm:spPr/>
      <dgm:t>
        <a:bodyPr/>
        <a:lstStyle/>
        <a:p>
          <a:endParaRPr lang="it-IT"/>
        </a:p>
      </dgm:t>
    </dgm:pt>
    <dgm:pt modelId="{DBF43435-E534-4CA2-9BEB-93585D8D69F7}" type="pres">
      <dgm:prSet presAssocID="{303F95F6-F5B4-40BB-8507-7E1FAC1C1BC8}" presName="arrow" presStyleLbl="node1" presStyleIdx="1" presStyleCnt="2" custScaleX="24710" custScaleY="100024" custRadScaleRad="93679" custRadScaleInc="-6836">
        <dgm:presLayoutVars>
          <dgm:bulletEnabled val="1"/>
        </dgm:presLayoutVars>
      </dgm:prSet>
      <dgm:spPr/>
      <dgm:t>
        <a:bodyPr/>
        <a:lstStyle/>
        <a:p>
          <a:endParaRPr lang="it-IT"/>
        </a:p>
      </dgm:t>
    </dgm:pt>
  </dgm:ptLst>
  <dgm:cxnLst>
    <dgm:cxn modelId="{9617C31A-0DFD-43CB-8D5E-782CC54D2B0D}" type="presOf" srcId="{E3533255-2487-4939-A569-78B4AEF91D4F}" destId="{6711C825-4C01-4010-80E5-94DE88871CFE}" srcOrd="0" destOrd="0" presId="urn:microsoft.com/office/officeart/2005/8/layout/arrow5"/>
    <dgm:cxn modelId="{F205D011-F465-4C8F-8226-84E89DDCAD99}" type="presOf" srcId="{252B061F-DC74-4240-A22D-340AC33CDB23}" destId="{B577C3AE-C2B3-4E15-8F77-7C00215FAFC2}" srcOrd="0" destOrd="0" presId="urn:microsoft.com/office/officeart/2005/8/layout/arrow5"/>
    <dgm:cxn modelId="{76B25262-B731-4339-AB89-7760519DD432}" srcId="{252B061F-DC74-4240-A22D-340AC33CDB23}" destId="{303F95F6-F5B4-40BB-8507-7E1FAC1C1BC8}" srcOrd="1" destOrd="0" parTransId="{36904EFC-AAA5-459F-9286-E893C56154D8}" sibTransId="{C7A8447A-1584-4E9F-AE0C-5D1D88E994A8}"/>
    <dgm:cxn modelId="{FEBD9CE1-232E-4B6B-BCFC-F4C157473F17}" srcId="{252B061F-DC74-4240-A22D-340AC33CDB23}" destId="{E3533255-2487-4939-A569-78B4AEF91D4F}" srcOrd="0" destOrd="0" parTransId="{E9969D0A-CDB0-4A59-BAAF-5BCC792EC7F5}" sibTransId="{1F2CE6AC-1A18-42D1-856B-F896BB37C72D}"/>
    <dgm:cxn modelId="{A27945E3-8023-483F-87BB-C51748AFC4E5}" type="presOf" srcId="{303F95F6-F5B4-40BB-8507-7E1FAC1C1BC8}" destId="{DBF43435-E534-4CA2-9BEB-93585D8D69F7}" srcOrd="0" destOrd="0" presId="urn:microsoft.com/office/officeart/2005/8/layout/arrow5"/>
    <dgm:cxn modelId="{F4259969-4A32-49E4-98B8-4B9E945D3027}" type="presParOf" srcId="{B577C3AE-C2B3-4E15-8F77-7C00215FAFC2}" destId="{6711C825-4C01-4010-80E5-94DE88871CFE}" srcOrd="0" destOrd="0" presId="urn:microsoft.com/office/officeart/2005/8/layout/arrow5"/>
    <dgm:cxn modelId="{710FF5EE-4C77-42A8-A88F-AB55ECEA9EAB}" type="presParOf" srcId="{B577C3AE-C2B3-4E15-8F77-7C00215FAFC2}" destId="{DBF43435-E534-4CA2-9BEB-93585D8D69F7}"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Perché siamo qui</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E799A05-30E0-4F74-AB0D-C9B797874F43}" type="presOf" srcId="{37F295A9-2A2E-416D-9AE6-C3404377959E}" destId="{58FB0A67-F67A-40BA-890E-A840ED83B605}" srcOrd="0" destOrd="0" presId="urn:microsoft.com/office/officeart/2008/layout/LinedList"/>
    <dgm:cxn modelId="{3D0E10FF-1748-48A8-86BB-B744F91E4B98}"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D314E68A-5845-4105-A90F-9E0247401C72}" type="presParOf" srcId="{58FB0A67-F67A-40BA-890E-A840ED83B605}" destId="{AB26EC88-0333-42E8-B340-C2B4FE18384A}" srcOrd="0" destOrd="0" presId="urn:microsoft.com/office/officeart/2008/layout/LinedList"/>
    <dgm:cxn modelId="{1BDEE6DA-58C9-496A-840F-0511C2BAB4EC}" type="presParOf" srcId="{58FB0A67-F67A-40BA-890E-A840ED83B605}" destId="{45792684-4DE0-4EDD-B49A-A40AB3BD4B9E}" srcOrd="1" destOrd="0" presId="urn:microsoft.com/office/officeart/2008/layout/LinedList"/>
    <dgm:cxn modelId="{64BA51DA-EFA9-44F1-94B8-EDEB936D17EF}" type="presParOf" srcId="{45792684-4DE0-4EDD-B49A-A40AB3BD4B9E}" destId="{7D920113-6D83-4974-923F-4CAA40CA2FDB}" srcOrd="0" destOrd="0" presId="urn:microsoft.com/office/officeart/2008/layout/LinedList"/>
    <dgm:cxn modelId="{AC4E50FC-0235-48B9-97F3-09364AF9447A}"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03CEE9D5-8004-4DC0-A475-3FC6F2F04938}" type="doc">
      <dgm:prSet loTypeId="urn:microsoft.com/office/officeart/2008/layout/SquareAccentList" loCatId="list" qsTypeId="urn:microsoft.com/office/officeart/2005/8/quickstyle/simple1" qsCatId="simple" csTypeId="urn:microsoft.com/office/officeart/2005/8/colors/colorful5" csCatId="colorful" phldr="1"/>
      <dgm:spPr/>
      <dgm:t>
        <a:bodyPr/>
        <a:lstStyle/>
        <a:p>
          <a:endParaRPr lang="it-IT"/>
        </a:p>
      </dgm:t>
    </dgm:pt>
    <dgm:pt modelId="{4CC1C72D-FAEB-4E4A-A770-DEBD56EC4F70}">
      <dgm:prSet custT="1"/>
      <dgm:spPr/>
      <dgm:t>
        <a:bodyPr/>
        <a:lstStyle/>
        <a:p>
          <a:pPr algn="just" rtl="0"/>
          <a:r>
            <a:rPr lang="it-IT" sz="1600" b="1" dirty="0" smtClean="0">
              <a:solidFill>
                <a:schemeClr val="accent6">
                  <a:lumMod val="75000"/>
                </a:schemeClr>
              </a:solidFill>
            </a:rPr>
            <a:t>finalizzati ad un diffuso innesto di innovazioni, anche non di natura tecnologica, nel sistema economico e sociale e rivolti ad un’ampia platea di beneficiari </a:t>
          </a:r>
        </a:p>
        <a:p>
          <a:pPr algn="just" rtl="0"/>
          <a:endParaRPr lang="it-IT" sz="1600" b="1" dirty="0"/>
        </a:p>
      </dgm:t>
    </dgm:pt>
    <dgm:pt modelId="{7CDBA97F-9E0D-42CF-ABF2-6C558E7D55BB}" type="parTrans" cxnId="{4E7279C9-7D89-4B78-9A67-8BEB919FFDD2}">
      <dgm:prSet/>
      <dgm:spPr/>
      <dgm:t>
        <a:bodyPr/>
        <a:lstStyle/>
        <a:p>
          <a:endParaRPr lang="it-IT"/>
        </a:p>
      </dgm:t>
    </dgm:pt>
    <dgm:pt modelId="{6FC16ED2-2882-4421-B49D-F8EB891847AF}" type="sibTrans" cxnId="{4E7279C9-7D89-4B78-9A67-8BEB919FFDD2}">
      <dgm:prSet/>
      <dgm:spPr/>
      <dgm:t>
        <a:bodyPr/>
        <a:lstStyle/>
        <a:p>
          <a:endParaRPr lang="it-IT"/>
        </a:p>
      </dgm:t>
    </dgm:pt>
    <dgm:pt modelId="{BE443D71-E9B1-4826-B945-B9AEF9E42B73}" type="pres">
      <dgm:prSet presAssocID="{03CEE9D5-8004-4DC0-A475-3FC6F2F04938}" presName="layout" presStyleCnt="0">
        <dgm:presLayoutVars>
          <dgm:chMax/>
          <dgm:chPref/>
          <dgm:dir/>
          <dgm:resizeHandles/>
        </dgm:presLayoutVars>
      </dgm:prSet>
      <dgm:spPr/>
      <dgm:t>
        <a:bodyPr/>
        <a:lstStyle/>
        <a:p>
          <a:endParaRPr lang="it-IT"/>
        </a:p>
      </dgm:t>
    </dgm:pt>
    <dgm:pt modelId="{0CD5EA9B-7E35-41AA-818A-950033BC2FED}" type="pres">
      <dgm:prSet presAssocID="{4CC1C72D-FAEB-4E4A-A770-DEBD56EC4F70}" presName="root" presStyleCnt="0">
        <dgm:presLayoutVars>
          <dgm:chMax/>
          <dgm:chPref/>
        </dgm:presLayoutVars>
      </dgm:prSet>
      <dgm:spPr/>
    </dgm:pt>
    <dgm:pt modelId="{DBF4ABFD-033D-425D-B852-1E74A50CB8C5}" type="pres">
      <dgm:prSet presAssocID="{4CC1C72D-FAEB-4E4A-A770-DEBD56EC4F70}" presName="rootComposite" presStyleCnt="0">
        <dgm:presLayoutVars/>
      </dgm:prSet>
      <dgm:spPr/>
    </dgm:pt>
    <dgm:pt modelId="{083E03EB-8615-4699-A45B-B57E780F0332}" type="pres">
      <dgm:prSet presAssocID="{4CC1C72D-FAEB-4E4A-A770-DEBD56EC4F70}" presName="ParentAccent" presStyleLbl="alignNode1" presStyleIdx="0" presStyleCnt="1"/>
      <dgm:spPr/>
    </dgm:pt>
    <dgm:pt modelId="{3B2C7311-6F60-41E3-801D-0A7CE5665F13}" type="pres">
      <dgm:prSet presAssocID="{4CC1C72D-FAEB-4E4A-A770-DEBD56EC4F70}" presName="ParentSmallAccent" presStyleLbl="fgAcc1" presStyleIdx="0" presStyleCnt="1"/>
      <dgm:spPr>
        <a:solidFill>
          <a:srgbClr val="33CC33">
            <a:alpha val="90000"/>
          </a:srgbClr>
        </a:solidFill>
      </dgm:spPr>
      <dgm:t>
        <a:bodyPr/>
        <a:lstStyle/>
        <a:p>
          <a:endParaRPr lang="it-IT"/>
        </a:p>
      </dgm:t>
    </dgm:pt>
    <dgm:pt modelId="{D3B3687A-029B-4B9E-A768-51742B3B318E}" type="pres">
      <dgm:prSet presAssocID="{4CC1C72D-FAEB-4E4A-A770-DEBD56EC4F70}" presName="Parent" presStyleLbl="revTx" presStyleIdx="0" presStyleCnt="1">
        <dgm:presLayoutVars>
          <dgm:chMax/>
          <dgm:chPref val="4"/>
          <dgm:bulletEnabled val="1"/>
        </dgm:presLayoutVars>
      </dgm:prSet>
      <dgm:spPr/>
      <dgm:t>
        <a:bodyPr/>
        <a:lstStyle/>
        <a:p>
          <a:endParaRPr lang="it-IT"/>
        </a:p>
      </dgm:t>
    </dgm:pt>
    <dgm:pt modelId="{CBC7B3CC-52C8-478E-9EDB-521E1034FD07}" type="pres">
      <dgm:prSet presAssocID="{4CC1C72D-FAEB-4E4A-A770-DEBD56EC4F70}" presName="childShape" presStyleCnt="0">
        <dgm:presLayoutVars>
          <dgm:chMax val="0"/>
          <dgm:chPref val="0"/>
        </dgm:presLayoutVars>
      </dgm:prSet>
      <dgm:spPr/>
    </dgm:pt>
  </dgm:ptLst>
  <dgm:cxnLst>
    <dgm:cxn modelId="{AE02919A-2533-44A2-BA11-A82C527909A8}" type="presOf" srcId="{03CEE9D5-8004-4DC0-A475-3FC6F2F04938}" destId="{BE443D71-E9B1-4826-B945-B9AEF9E42B73}" srcOrd="0" destOrd="0" presId="urn:microsoft.com/office/officeart/2008/layout/SquareAccentList"/>
    <dgm:cxn modelId="{4E7279C9-7D89-4B78-9A67-8BEB919FFDD2}" srcId="{03CEE9D5-8004-4DC0-A475-3FC6F2F04938}" destId="{4CC1C72D-FAEB-4E4A-A770-DEBD56EC4F70}" srcOrd="0" destOrd="0" parTransId="{7CDBA97F-9E0D-42CF-ABF2-6C558E7D55BB}" sibTransId="{6FC16ED2-2882-4421-B49D-F8EB891847AF}"/>
    <dgm:cxn modelId="{171E0B91-40C9-4AE9-ADD4-B1AEB94956C2}" type="presOf" srcId="{4CC1C72D-FAEB-4E4A-A770-DEBD56EC4F70}" destId="{D3B3687A-029B-4B9E-A768-51742B3B318E}" srcOrd="0" destOrd="0" presId="urn:microsoft.com/office/officeart/2008/layout/SquareAccentList"/>
    <dgm:cxn modelId="{293F4525-22A0-4B73-915D-30250E4161AD}" type="presParOf" srcId="{BE443D71-E9B1-4826-B945-B9AEF9E42B73}" destId="{0CD5EA9B-7E35-41AA-818A-950033BC2FED}" srcOrd="0" destOrd="0" presId="urn:microsoft.com/office/officeart/2008/layout/SquareAccentList"/>
    <dgm:cxn modelId="{3C69F78A-778D-425D-8449-8785B8B0EFE5}" type="presParOf" srcId="{0CD5EA9B-7E35-41AA-818A-950033BC2FED}" destId="{DBF4ABFD-033D-425D-B852-1E74A50CB8C5}" srcOrd="0" destOrd="0" presId="urn:microsoft.com/office/officeart/2008/layout/SquareAccentList"/>
    <dgm:cxn modelId="{26728FD5-5119-49AC-A855-8512D48C76B6}" type="presParOf" srcId="{DBF4ABFD-033D-425D-B852-1E74A50CB8C5}" destId="{083E03EB-8615-4699-A45B-B57E780F0332}" srcOrd="0" destOrd="0" presId="urn:microsoft.com/office/officeart/2008/layout/SquareAccentList"/>
    <dgm:cxn modelId="{436A85A5-92BE-44DE-8F66-8796F59DC5AD}" type="presParOf" srcId="{DBF4ABFD-033D-425D-B852-1E74A50CB8C5}" destId="{3B2C7311-6F60-41E3-801D-0A7CE5665F13}" srcOrd="1" destOrd="0" presId="urn:microsoft.com/office/officeart/2008/layout/SquareAccentList"/>
    <dgm:cxn modelId="{16D36D57-4249-4209-BF37-93E7CCD0EDE8}" type="presParOf" srcId="{DBF4ABFD-033D-425D-B852-1E74A50CB8C5}" destId="{D3B3687A-029B-4B9E-A768-51742B3B318E}" srcOrd="2" destOrd="0" presId="urn:microsoft.com/office/officeart/2008/layout/SquareAccentList"/>
    <dgm:cxn modelId="{1DCC9B42-8420-427B-BC73-29EB9A6C9FB5}" type="presParOf" srcId="{0CD5EA9B-7E35-41AA-818A-950033BC2FED}" destId="{CBC7B3CC-52C8-478E-9EDB-521E1034FD07}" srcOrd="1" destOrd="0" presId="urn:microsoft.com/office/officeart/2008/layout/SquareAccent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FBCF1CB5-D42E-4059-B1D0-BE44D4B17212}" type="doc">
      <dgm:prSet loTypeId="urn:microsoft.com/office/officeart/2008/layout/SquareAccentList" loCatId="list" qsTypeId="urn:microsoft.com/office/officeart/2005/8/quickstyle/simple1" qsCatId="simple" csTypeId="urn:microsoft.com/office/officeart/2005/8/colors/colorful2" csCatId="colorful" phldr="1"/>
      <dgm:spPr/>
      <dgm:t>
        <a:bodyPr/>
        <a:lstStyle/>
        <a:p>
          <a:endParaRPr lang="it-IT"/>
        </a:p>
      </dgm:t>
    </dgm:pt>
    <dgm:pt modelId="{C50E0AF5-3031-4EDA-B175-798CC21362AE}">
      <dgm:prSet/>
      <dgm:spPr/>
      <dgm:t>
        <a:bodyPr/>
        <a:lstStyle/>
        <a:p>
          <a:pPr algn="just" rtl="0"/>
          <a:r>
            <a:rPr lang="it-IT" b="1" dirty="0" smtClean="0">
              <a:solidFill>
                <a:schemeClr val="accent2"/>
              </a:solidFill>
            </a:rPr>
            <a:t>finalizzati al sostegno mirato a programmi ambiziosi di carattere strategico sotto il profilo dell’impatto sul contesto regionale</a:t>
          </a:r>
          <a:endParaRPr lang="it-IT" b="1" dirty="0">
            <a:solidFill>
              <a:schemeClr val="accent2"/>
            </a:solidFill>
          </a:endParaRPr>
        </a:p>
      </dgm:t>
    </dgm:pt>
    <dgm:pt modelId="{191394A3-EA3D-474E-AC1A-408ED8186BFF}" type="parTrans" cxnId="{1E78D72B-08D3-46BA-B7A0-3EA14F1018E1}">
      <dgm:prSet/>
      <dgm:spPr/>
      <dgm:t>
        <a:bodyPr/>
        <a:lstStyle/>
        <a:p>
          <a:endParaRPr lang="it-IT"/>
        </a:p>
      </dgm:t>
    </dgm:pt>
    <dgm:pt modelId="{79FD2D2A-7A21-4EBB-9F8F-63792777EDD4}" type="sibTrans" cxnId="{1E78D72B-08D3-46BA-B7A0-3EA14F1018E1}">
      <dgm:prSet/>
      <dgm:spPr/>
      <dgm:t>
        <a:bodyPr/>
        <a:lstStyle/>
        <a:p>
          <a:endParaRPr lang="it-IT"/>
        </a:p>
      </dgm:t>
    </dgm:pt>
    <dgm:pt modelId="{1BC6DDBE-EEA3-419A-B9D7-094F9E8B0E6A}" type="pres">
      <dgm:prSet presAssocID="{FBCF1CB5-D42E-4059-B1D0-BE44D4B17212}" presName="layout" presStyleCnt="0">
        <dgm:presLayoutVars>
          <dgm:chMax/>
          <dgm:chPref/>
          <dgm:dir/>
          <dgm:resizeHandles/>
        </dgm:presLayoutVars>
      </dgm:prSet>
      <dgm:spPr/>
      <dgm:t>
        <a:bodyPr/>
        <a:lstStyle/>
        <a:p>
          <a:endParaRPr lang="it-IT"/>
        </a:p>
      </dgm:t>
    </dgm:pt>
    <dgm:pt modelId="{C811D93E-2A42-4EBC-9230-FD8F17C1C8AC}" type="pres">
      <dgm:prSet presAssocID="{C50E0AF5-3031-4EDA-B175-798CC21362AE}" presName="root" presStyleCnt="0">
        <dgm:presLayoutVars>
          <dgm:chMax/>
          <dgm:chPref/>
        </dgm:presLayoutVars>
      </dgm:prSet>
      <dgm:spPr/>
    </dgm:pt>
    <dgm:pt modelId="{C91C54B4-1758-4214-B440-5B8C6FE421E7}" type="pres">
      <dgm:prSet presAssocID="{C50E0AF5-3031-4EDA-B175-798CC21362AE}" presName="rootComposite" presStyleCnt="0">
        <dgm:presLayoutVars/>
      </dgm:prSet>
      <dgm:spPr/>
    </dgm:pt>
    <dgm:pt modelId="{5F1D0415-9388-4E4F-9160-2793C0F671EE}" type="pres">
      <dgm:prSet presAssocID="{C50E0AF5-3031-4EDA-B175-798CC21362AE}" presName="ParentAccent" presStyleLbl="alignNode1" presStyleIdx="0" presStyleCnt="1"/>
      <dgm:spPr/>
    </dgm:pt>
    <dgm:pt modelId="{49E0879E-6F98-4834-B869-D3EE0F5BDB55}" type="pres">
      <dgm:prSet presAssocID="{C50E0AF5-3031-4EDA-B175-798CC21362AE}" presName="ParentSmallAccent" presStyleLbl="fgAcc1" presStyleIdx="0" presStyleCnt="1"/>
      <dgm:spPr>
        <a:solidFill>
          <a:schemeClr val="accent2">
            <a:alpha val="90000"/>
          </a:schemeClr>
        </a:solidFill>
      </dgm:spPr>
    </dgm:pt>
    <dgm:pt modelId="{83966723-4AA0-486E-A4AA-943FAAF5ED21}" type="pres">
      <dgm:prSet presAssocID="{C50E0AF5-3031-4EDA-B175-798CC21362AE}" presName="Parent" presStyleLbl="revTx" presStyleIdx="0" presStyleCnt="1">
        <dgm:presLayoutVars>
          <dgm:chMax/>
          <dgm:chPref val="4"/>
          <dgm:bulletEnabled val="1"/>
        </dgm:presLayoutVars>
      </dgm:prSet>
      <dgm:spPr/>
      <dgm:t>
        <a:bodyPr/>
        <a:lstStyle/>
        <a:p>
          <a:endParaRPr lang="it-IT"/>
        </a:p>
      </dgm:t>
    </dgm:pt>
    <dgm:pt modelId="{2F992286-5A4C-4907-87E5-3A9EFB506D24}" type="pres">
      <dgm:prSet presAssocID="{C50E0AF5-3031-4EDA-B175-798CC21362AE}" presName="childShape" presStyleCnt="0">
        <dgm:presLayoutVars>
          <dgm:chMax val="0"/>
          <dgm:chPref val="0"/>
        </dgm:presLayoutVars>
      </dgm:prSet>
      <dgm:spPr/>
    </dgm:pt>
  </dgm:ptLst>
  <dgm:cxnLst>
    <dgm:cxn modelId="{88BD15F9-ECF2-4B7C-B838-12A47E67EE06}" type="presOf" srcId="{FBCF1CB5-D42E-4059-B1D0-BE44D4B17212}" destId="{1BC6DDBE-EEA3-419A-B9D7-094F9E8B0E6A}" srcOrd="0" destOrd="0" presId="urn:microsoft.com/office/officeart/2008/layout/SquareAccentList"/>
    <dgm:cxn modelId="{D7F31A34-2167-4699-B626-564F13A19558}" type="presOf" srcId="{C50E0AF5-3031-4EDA-B175-798CC21362AE}" destId="{83966723-4AA0-486E-A4AA-943FAAF5ED21}" srcOrd="0" destOrd="0" presId="urn:microsoft.com/office/officeart/2008/layout/SquareAccentList"/>
    <dgm:cxn modelId="{1E78D72B-08D3-46BA-B7A0-3EA14F1018E1}" srcId="{FBCF1CB5-D42E-4059-B1D0-BE44D4B17212}" destId="{C50E0AF5-3031-4EDA-B175-798CC21362AE}" srcOrd="0" destOrd="0" parTransId="{191394A3-EA3D-474E-AC1A-408ED8186BFF}" sibTransId="{79FD2D2A-7A21-4EBB-9F8F-63792777EDD4}"/>
    <dgm:cxn modelId="{31E67822-0F6D-4F9B-B487-2CC4B120A2C2}" type="presParOf" srcId="{1BC6DDBE-EEA3-419A-B9D7-094F9E8B0E6A}" destId="{C811D93E-2A42-4EBC-9230-FD8F17C1C8AC}" srcOrd="0" destOrd="0" presId="urn:microsoft.com/office/officeart/2008/layout/SquareAccentList"/>
    <dgm:cxn modelId="{114EACC1-AA47-41FE-85E3-292D85168910}" type="presParOf" srcId="{C811D93E-2A42-4EBC-9230-FD8F17C1C8AC}" destId="{C91C54B4-1758-4214-B440-5B8C6FE421E7}" srcOrd="0" destOrd="0" presId="urn:microsoft.com/office/officeart/2008/layout/SquareAccentList"/>
    <dgm:cxn modelId="{20659CAA-8237-4D05-9D09-7796F877217D}" type="presParOf" srcId="{C91C54B4-1758-4214-B440-5B8C6FE421E7}" destId="{5F1D0415-9388-4E4F-9160-2793C0F671EE}" srcOrd="0" destOrd="0" presId="urn:microsoft.com/office/officeart/2008/layout/SquareAccentList"/>
    <dgm:cxn modelId="{B38656D6-C30C-49F3-B694-C310565367BB}" type="presParOf" srcId="{C91C54B4-1758-4214-B440-5B8C6FE421E7}" destId="{49E0879E-6F98-4834-B869-D3EE0F5BDB55}" srcOrd="1" destOrd="0" presId="urn:microsoft.com/office/officeart/2008/layout/SquareAccentList"/>
    <dgm:cxn modelId="{16B78463-6645-4C6B-899A-4C94F72FFF13}" type="presParOf" srcId="{C91C54B4-1758-4214-B440-5B8C6FE421E7}" destId="{83966723-4AA0-486E-A4AA-943FAAF5ED21}" srcOrd="2" destOrd="0" presId="urn:microsoft.com/office/officeart/2008/layout/SquareAccentList"/>
    <dgm:cxn modelId="{00CBF041-9674-48FB-9C85-7CDF8A67FBDE}" type="presParOf" srcId="{C811D93E-2A42-4EBC-9230-FD8F17C1C8AC}" destId="{2F992286-5A4C-4907-87E5-3A9EFB506D24}" srcOrd="1" destOrd="0" presId="urn:microsoft.com/office/officeart/2008/layout/SquareAccent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073B4C41-417B-4F58-A495-297D90913EA8}" srcId="{DD2A2349-D5E1-4B0B-BC4D-12DFD2A1F555}" destId="{83267C61-1508-43DC-B21B-6C4CC85B645F}" srcOrd="1" destOrd="0" parTransId="{68B8E43C-2B2E-4FE0-AE78-B902D4E2AAF2}" sibTransId="{4E4C1904-5B45-41CD-B782-D4F6DF3319A5}"/>
    <dgm:cxn modelId="{3FC8F243-AA57-49B0-851D-E578535FF884}" type="presOf" srcId="{DD2A2349-D5E1-4B0B-BC4D-12DFD2A1F555}" destId="{04CEFBD9-3179-4291-917F-D814B58269B2}" srcOrd="0" destOrd="0" presId="urn:microsoft.com/office/officeart/2005/8/layout/gear1"/>
    <dgm:cxn modelId="{2E54B23A-432B-41F6-9004-3F53BFED4C36}" type="presOf" srcId="{DB8CAAE3-2297-43B6-A573-85B61E9001B2}" destId="{2EE2CEB5-124D-44F5-9096-E7ECAF2F2101}" srcOrd="0" destOrd="0" presId="urn:microsoft.com/office/officeart/2005/8/layout/gear1"/>
    <dgm:cxn modelId="{C94B79F0-B829-414C-9ED2-C830182734D2}" type="presOf" srcId="{83267C61-1508-43DC-B21B-6C4CC85B645F}" destId="{F2B40673-4C71-4A98-9339-977C54C5A9D5}" srcOrd="2" destOrd="0" presId="urn:microsoft.com/office/officeart/2005/8/layout/gear1"/>
    <dgm:cxn modelId="{D15A2145-AA75-4979-BD08-055839638357}" type="presOf" srcId="{83267C61-1508-43DC-B21B-6C4CC85B645F}" destId="{A805CD41-67EA-4513-9E61-A8C3D66DFD07}" srcOrd="1"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53B61458-5986-4F7B-9F7D-96B7AD3625F1}" type="presOf" srcId="{4E4C1904-5B45-41CD-B782-D4F6DF3319A5}" destId="{271AF710-52C6-4140-9C37-87300CDE1B1A}" srcOrd="0" destOrd="0" presId="urn:microsoft.com/office/officeart/2005/8/layout/gear1"/>
    <dgm:cxn modelId="{D52F24C4-00A2-498E-ABC0-23AA95AC17A3}" type="presOf" srcId="{83267C61-1508-43DC-B21B-6C4CC85B645F}" destId="{48AC5F59-43C7-463B-9C6A-CEA2081E1C1C}" srcOrd="0" destOrd="0" presId="urn:microsoft.com/office/officeart/2005/8/layout/gear1"/>
    <dgm:cxn modelId="{895D3DC6-CB53-43B2-95EB-531C940AC4A9}" type="presOf" srcId="{DB8CAAE3-2297-43B6-A573-85B61E9001B2}" destId="{3115EADC-B8B2-4B58-B882-7BA79A4C3E8C}" srcOrd="1" destOrd="0" presId="urn:microsoft.com/office/officeart/2005/8/layout/gear1"/>
    <dgm:cxn modelId="{46E2A46F-A3C3-4EB1-836C-C7C6AA418C6E}" type="presOf" srcId="{DB8CAAE3-2297-43B6-A573-85B61E9001B2}" destId="{128F0A60-3FF4-4381-B2EE-759ED4374620}" srcOrd="2" destOrd="0" presId="urn:microsoft.com/office/officeart/2005/8/layout/gear1"/>
    <dgm:cxn modelId="{FB3086BE-0776-4A14-8D4C-5EC7AB2BA7A3}" type="presOf" srcId="{D388EEC3-03C3-47A8-890B-2496F9CBA67B}" destId="{9C58820E-B88E-42EC-B94E-53580DE862F7}" srcOrd="0" destOrd="0" presId="urn:microsoft.com/office/officeart/2005/8/layout/gear1"/>
    <dgm:cxn modelId="{B7068981-E6C8-44AD-A771-6AAFD14FC271}" type="presParOf" srcId="{04CEFBD9-3179-4291-917F-D814B58269B2}" destId="{2EE2CEB5-124D-44F5-9096-E7ECAF2F2101}" srcOrd="0" destOrd="0" presId="urn:microsoft.com/office/officeart/2005/8/layout/gear1"/>
    <dgm:cxn modelId="{19C2D5B7-E8C0-4793-9FBE-BA10AB1EE9BD}" type="presParOf" srcId="{04CEFBD9-3179-4291-917F-D814B58269B2}" destId="{3115EADC-B8B2-4B58-B882-7BA79A4C3E8C}" srcOrd="1" destOrd="0" presId="urn:microsoft.com/office/officeart/2005/8/layout/gear1"/>
    <dgm:cxn modelId="{EE9B3818-D2F1-4F6F-8E8B-800FA27F759D}" type="presParOf" srcId="{04CEFBD9-3179-4291-917F-D814B58269B2}" destId="{128F0A60-3FF4-4381-B2EE-759ED4374620}" srcOrd="2" destOrd="0" presId="urn:microsoft.com/office/officeart/2005/8/layout/gear1"/>
    <dgm:cxn modelId="{B99847FC-2FA2-413C-B752-54C2EB734050}" type="presParOf" srcId="{04CEFBD9-3179-4291-917F-D814B58269B2}" destId="{48AC5F59-43C7-463B-9C6A-CEA2081E1C1C}" srcOrd="3" destOrd="0" presId="urn:microsoft.com/office/officeart/2005/8/layout/gear1"/>
    <dgm:cxn modelId="{6036C269-669D-4CD2-8D14-CF7210D82F42}" type="presParOf" srcId="{04CEFBD9-3179-4291-917F-D814B58269B2}" destId="{A805CD41-67EA-4513-9E61-A8C3D66DFD07}" srcOrd="4" destOrd="0" presId="urn:microsoft.com/office/officeart/2005/8/layout/gear1"/>
    <dgm:cxn modelId="{5E7E0915-B786-470C-9094-E024C446C3F0}" type="presParOf" srcId="{04CEFBD9-3179-4291-917F-D814B58269B2}" destId="{F2B40673-4C71-4A98-9339-977C54C5A9D5}" srcOrd="5" destOrd="0" presId="urn:microsoft.com/office/officeart/2005/8/layout/gear1"/>
    <dgm:cxn modelId="{FCD77D40-2A81-46A0-84EC-F5E8854F1431}" type="presParOf" srcId="{04CEFBD9-3179-4291-917F-D814B58269B2}" destId="{9C58820E-B88E-42EC-B94E-53580DE862F7}" srcOrd="6" destOrd="0" presId="urn:microsoft.com/office/officeart/2005/8/layout/gear1"/>
    <dgm:cxn modelId="{65819D7A-A718-4B56-ACAA-0CE8BE792B0B}"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90C1D0C6-BBB6-4CAE-B9B8-69DA547DFCB3}" type="presOf" srcId="{DB8CAAE3-2297-43B6-A573-85B61E9001B2}" destId="{128F0A60-3FF4-4381-B2EE-759ED4374620}" srcOrd="2"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3D2812CA-B6C3-463F-BC1B-E56EA30C11D0}" type="presOf" srcId="{4E4C1904-5B45-41CD-B782-D4F6DF3319A5}" destId="{271AF710-52C6-4140-9C37-87300CDE1B1A}" srcOrd="0" destOrd="0" presId="urn:microsoft.com/office/officeart/2005/8/layout/gear1"/>
    <dgm:cxn modelId="{87420D7B-D9CB-4812-A6E4-C2983D43FCEE}" type="presOf" srcId="{DB8CAAE3-2297-43B6-A573-85B61E9001B2}" destId="{2EE2CEB5-124D-44F5-9096-E7ECAF2F2101}" srcOrd="0" destOrd="0" presId="urn:microsoft.com/office/officeart/2005/8/layout/gear1"/>
    <dgm:cxn modelId="{AFFE8034-8AF5-48F4-B16F-97447531B3B2}" type="presOf" srcId="{DB8CAAE3-2297-43B6-A573-85B61E9001B2}" destId="{3115EADC-B8B2-4B58-B882-7BA79A4C3E8C}" srcOrd="1" destOrd="0" presId="urn:microsoft.com/office/officeart/2005/8/layout/gear1"/>
    <dgm:cxn modelId="{3AE80DB4-A980-4D0F-8E66-31D845F8BFED}" type="presOf" srcId="{D388EEC3-03C3-47A8-890B-2496F9CBA67B}" destId="{9C58820E-B88E-42EC-B94E-53580DE862F7}" srcOrd="0" destOrd="0" presId="urn:microsoft.com/office/officeart/2005/8/layout/gear1"/>
    <dgm:cxn modelId="{1BB2D72A-8F7B-4EEF-AA32-B2966988A568}" type="presOf" srcId="{83267C61-1508-43DC-B21B-6C4CC85B645F}" destId="{A805CD41-67EA-4513-9E61-A8C3D66DFD07}" srcOrd="1" destOrd="0" presId="urn:microsoft.com/office/officeart/2005/8/layout/gear1"/>
    <dgm:cxn modelId="{4D6716BA-B653-4C9B-9034-48220E66547B}" type="presOf" srcId="{DD2A2349-D5E1-4B0B-BC4D-12DFD2A1F555}" destId="{04CEFBD9-3179-4291-917F-D814B58269B2}" srcOrd="0"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A339C981-E865-4C26-92B4-8E62D3C89602}" type="presOf" srcId="{83267C61-1508-43DC-B21B-6C4CC85B645F}" destId="{F2B40673-4C71-4A98-9339-977C54C5A9D5}" srcOrd="2" destOrd="0" presId="urn:microsoft.com/office/officeart/2005/8/layout/gear1"/>
    <dgm:cxn modelId="{14E7E0EB-8834-4F42-88CC-308288DFEBDF}" type="presOf" srcId="{83267C61-1508-43DC-B21B-6C4CC85B645F}" destId="{48AC5F59-43C7-463B-9C6A-CEA2081E1C1C}" srcOrd="0" destOrd="0" presId="urn:microsoft.com/office/officeart/2005/8/layout/gear1"/>
    <dgm:cxn modelId="{148ED3EE-A94F-48CF-8E3F-331A78F77427}" type="presParOf" srcId="{04CEFBD9-3179-4291-917F-D814B58269B2}" destId="{2EE2CEB5-124D-44F5-9096-E7ECAF2F2101}" srcOrd="0" destOrd="0" presId="urn:microsoft.com/office/officeart/2005/8/layout/gear1"/>
    <dgm:cxn modelId="{FA933FA3-DBFD-4A2A-9201-D2086F218AED}" type="presParOf" srcId="{04CEFBD9-3179-4291-917F-D814B58269B2}" destId="{3115EADC-B8B2-4B58-B882-7BA79A4C3E8C}" srcOrd="1" destOrd="0" presId="urn:microsoft.com/office/officeart/2005/8/layout/gear1"/>
    <dgm:cxn modelId="{7C0C9C61-1E73-4E95-84FF-D164DFAFC79C}" type="presParOf" srcId="{04CEFBD9-3179-4291-917F-D814B58269B2}" destId="{128F0A60-3FF4-4381-B2EE-759ED4374620}" srcOrd="2" destOrd="0" presId="urn:microsoft.com/office/officeart/2005/8/layout/gear1"/>
    <dgm:cxn modelId="{637F7403-F37D-44BE-A03F-E09829CF0C9A}" type="presParOf" srcId="{04CEFBD9-3179-4291-917F-D814B58269B2}" destId="{48AC5F59-43C7-463B-9C6A-CEA2081E1C1C}" srcOrd="3" destOrd="0" presId="urn:microsoft.com/office/officeart/2005/8/layout/gear1"/>
    <dgm:cxn modelId="{1E271183-DC4C-4996-B260-40EA0BE2D5FF}" type="presParOf" srcId="{04CEFBD9-3179-4291-917F-D814B58269B2}" destId="{A805CD41-67EA-4513-9E61-A8C3D66DFD07}" srcOrd="4" destOrd="0" presId="urn:microsoft.com/office/officeart/2005/8/layout/gear1"/>
    <dgm:cxn modelId="{C369F917-3AE4-4BB7-A3BC-0DFAABB9405A}" type="presParOf" srcId="{04CEFBD9-3179-4291-917F-D814B58269B2}" destId="{F2B40673-4C71-4A98-9339-977C54C5A9D5}" srcOrd="5" destOrd="0" presId="urn:microsoft.com/office/officeart/2005/8/layout/gear1"/>
    <dgm:cxn modelId="{BA180855-D9B6-4A27-873D-4926ED244140}" type="presParOf" srcId="{04CEFBD9-3179-4291-917F-D814B58269B2}" destId="{9C58820E-B88E-42EC-B94E-53580DE862F7}" srcOrd="6" destOrd="0" presId="urn:microsoft.com/office/officeart/2005/8/layout/gear1"/>
    <dgm:cxn modelId="{68EFB0C8-95AB-4FD1-B2D6-3D5DFF779155}"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D0D5E1A0-0A08-4103-9E78-FEA7731B1A26}" type="presOf" srcId="{E46B0764-5BD0-4874-96A3-55F283CF28ED}" destId="{FB318694-7D13-4394-9999-743EFAEC9488}" srcOrd="0" destOrd="0" presId="urn:microsoft.com/office/officeart/2005/8/layout/hChevron3"/>
    <dgm:cxn modelId="{EB38DD7B-3F2C-41A1-87E8-22B0F5F058E1}" srcId="{E63ACFB1-B77F-4015-9BED-EC30BF08F771}" destId="{E46B0764-5BD0-4874-96A3-55F283CF28ED}" srcOrd="0" destOrd="0" parTransId="{B88FFC91-1F6F-4375-8676-72BE85B74A9B}" sibTransId="{0F6C585C-BEAF-403B-BAC3-5E6D53278BED}"/>
    <dgm:cxn modelId="{80BF694D-FEA2-4CFB-825C-018E0D63E1F6}" type="presOf" srcId="{E63ACFB1-B77F-4015-9BED-EC30BF08F771}" destId="{42458090-426A-4F00-AD2D-8E2703041A28}" srcOrd="0" destOrd="0" presId="urn:microsoft.com/office/officeart/2005/8/layout/hChevron3"/>
    <dgm:cxn modelId="{8DE3C946-6BB8-4156-A97E-E9812D75F856}"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Mis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custLinFactNeighborX="-2180" custLinFactNeighborY="12174">
        <dgm:presLayoutVars>
          <dgm:chMax val="0"/>
          <dgm:bulletEnabled val="1"/>
        </dgm:presLayoutVars>
      </dgm:prSet>
      <dgm:spPr/>
      <dgm:t>
        <a:bodyPr/>
        <a:lstStyle/>
        <a:p>
          <a:endParaRPr lang="it-IT"/>
        </a:p>
      </dgm:t>
    </dgm:pt>
  </dgm:ptLst>
  <dgm:cxnLst>
    <dgm:cxn modelId="{3EB93381-CFDF-412D-BD0E-28EC38363155}" srcId="{AE646E03-12A4-49CF-87FA-83F02809DAAE}" destId="{83F18DF4-A7CB-4C68-84EF-BE7E4F9667D2}" srcOrd="0" destOrd="0" parTransId="{1A9E2F38-4905-4E72-9BAD-FC02BBD1C89D}" sibTransId="{53E7F729-0A4D-416F-AF8A-594714C3CE2E}"/>
    <dgm:cxn modelId="{9EDEAC77-3E04-4463-9A0E-6BD122F82B23}" type="presOf" srcId="{83F18DF4-A7CB-4C68-84EF-BE7E4F9667D2}" destId="{49145999-397C-4B26-80C5-A6DCCF277918}" srcOrd="0" destOrd="0" presId="urn:microsoft.com/office/officeart/2005/8/layout/vList2"/>
    <dgm:cxn modelId="{D5502D8F-C69C-4715-9E1D-E302001AA335}" type="presOf" srcId="{AE646E03-12A4-49CF-87FA-83F02809DAAE}" destId="{32EF67BB-7DDF-4EDE-983A-3F879EF25BB8}" srcOrd="0" destOrd="0" presId="urn:microsoft.com/office/officeart/2005/8/layout/vList2"/>
    <dgm:cxn modelId="{7261F31D-786E-423E-9859-095F2948B245}"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Diffu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dgm:presLayoutVars>
          <dgm:chMax val="0"/>
          <dgm:bulletEnabled val="1"/>
        </dgm:presLayoutVars>
      </dgm:prSet>
      <dgm:spPr/>
      <dgm:t>
        <a:bodyPr/>
        <a:lstStyle/>
        <a:p>
          <a:endParaRPr lang="it-IT"/>
        </a:p>
      </dgm:t>
    </dgm:pt>
  </dgm:ptLst>
  <dgm:cxnLst>
    <dgm:cxn modelId="{50783A94-E20A-4BA5-AC16-20A987A1B926}" type="presOf" srcId="{AE646E03-12A4-49CF-87FA-83F02809DAAE}" destId="{32EF67BB-7DDF-4EDE-983A-3F879EF25BB8}" srcOrd="0" destOrd="0" presId="urn:microsoft.com/office/officeart/2005/8/layout/vList2"/>
    <dgm:cxn modelId="{798E0565-648A-45F7-A8B2-BC278A76B130}" type="presOf" srcId="{83F18DF4-A7CB-4C68-84EF-BE7E4F9667D2}" destId="{49145999-397C-4B26-80C5-A6DCCF277918}" srcOrd="0" destOrd="0" presId="urn:microsoft.com/office/officeart/2005/8/layout/vList2"/>
    <dgm:cxn modelId="{3EB93381-CFDF-412D-BD0E-28EC38363155}" srcId="{AE646E03-12A4-49CF-87FA-83F02809DAAE}" destId="{83F18DF4-A7CB-4C68-84EF-BE7E4F9667D2}" srcOrd="0" destOrd="0" parTransId="{1A9E2F38-4905-4E72-9BAD-FC02BBD1C89D}" sibTransId="{53E7F729-0A4D-416F-AF8A-594714C3CE2E}"/>
    <dgm:cxn modelId="{197074E1-A0EB-4CB8-9F6A-EEDA0DC605E7}"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39FD4E34-C18B-4E55-8F13-FC6F8AE5828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CEA299AD-D349-496E-B78D-D831922BCD2A}">
      <dgm:prSet/>
      <dgm:spPr/>
      <dgm:t>
        <a:bodyPr/>
        <a:lstStyle/>
        <a:p>
          <a:pPr rtl="0"/>
          <a:r>
            <a:rPr lang="it-IT" dirty="0" smtClean="0"/>
            <a:t>Rafforzamento competenze scientifiche e produttive legate alle KETs </a:t>
          </a:r>
          <a:endParaRPr lang="it-IT" dirty="0"/>
        </a:p>
      </dgm:t>
    </dgm:pt>
    <dgm:pt modelId="{72D864ED-69E8-4DFB-A5A3-B6CA65F6F973}" type="parTrans" cxnId="{98EC2005-1324-4336-9361-1A1643668FC3}">
      <dgm:prSet/>
      <dgm:spPr/>
      <dgm:t>
        <a:bodyPr/>
        <a:lstStyle/>
        <a:p>
          <a:endParaRPr lang="it-IT"/>
        </a:p>
      </dgm:t>
    </dgm:pt>
    <dgm:pt modelId="{79CCDDF6-46B0-4D22-A120-BE39E4E04BB0}" type="sibTrans" cxnId="{98EC2005-1324-4336-9361-1A1643668FC3}">
      <dgm:prSet/>
      <dgm:spPr/>
      <dgm:t>
        <a:bodyPr/>
        <a:lstStyle/>
        <a:p>
          <a:endParaRPr lang="it-IT"/>
        </a:p>
      </dgm:t>
    </dgm:pt>
    <dgm:pt modelId="{BABB195B-5594-48DA-90AD-E0F073F4596F}" type="pres">
      <dgm:prSet presAssocID="{39FD4E34-C18B-4E55-8F13-FC6F8AE5828C}" presName="linear" presStyleCnt="0">
        <dgm:presLayoutVars>
          <dgm:animLvl val="lvl"/>
          <dgm:resizeHandles val="exact"/>
        </dgm:presLayoutVars>
      </dgm:prSet>
      <dgm:spPr/>
      <dgm:t>
        <a:bodyPr/>
        <a:lstStyle/>
        <a:p>
          <a:endParaRPr lang="it-IT"/>
        </a:p>
      </dgm:t>
    </dgm:pt>
    <dgm:pt modelId="{677FC795-A476-4946-BE97-EF1BF71309EC}" type="pres">
      <dgm:prSet presAssocID="{CEA299AD-D349-496E-B78D-D831922BCD2A}" presName="parentText" presStyleLbl="node1" presStyleIdx="0" presStyleCnt="1">
        <dgm:presLayoutVars>
          <dgm:chMax val="0"/>
          <dgm:bulletEnabled val="1"/>
        </dgm:presLayoutVars>
      </dgm:prSet>
      <dgm:spPr/>
      <dgm:t>
        <a:bodyPr/>
        <a:lstStyle/>
        <a:p>
          <a:endParaRPr lang="it-IT"/>
        </a:p>
      </dgm:t>
    </dgm:pt>
  </dgm:ptLst>
  <dgm:cxnLst>
    <dgm:cxn modelId="{98EC2005-1324-4336-9361-1A1643668FC3}" srcId="{39FD4E34-C18B-4E55-8F13-FC6F8AE5828C}" destId="{CEA299AD-D349-496E-B78D-D831922BCD2A}" srcOrd="0" destOrd="0" parTransId="{72D864ED-69E8-4DFB-A5A3-B6CA65F6F973}" sibTransId="{79CCDDF6-46B0-4D22-A120-BE39E4E04BB0}"/>
    <dgm:cxn modelId="{F290AD36-63C4-4E90-B4A0-C857238D47CB}" type="presOf" srcId="{39FD4E34-C18B-4E55-8F13-FC6F8AE5828C}" destId="{BABB195B-5594-48DA-90AD-E0F073F4596F}" srcOrd="0" destOrd="0" presId="urn:microsoft.com/office/officeart/2005/8/layout/vList2"/>
    <dgm:cxn modelId="{5E40A9E1-8164-4977-8E28-610E1D78A6DE}" type="presOf" srcId="{CEA299AD-D349-496E-B78D-D831922BCD2A}" destId="{677FC795-A476-4946-BE97-EF1BF71309EC}" srcOrd="0" destOrd="0" presId="urn:microsoft.com/office/officeart/2005/8/layout/vList2"/>
    <dgm:cxn modelId="{AC41C759-87D9-4DD5-97F5-E47D6319898B}" type="presParOf" srcId="{BABB195B-5594-48DA-90AD-E0F073F4596F}" destId="{677FC795-A476-4946-BE97-EF1BF71309EC}" srcOrd="0" destOrd="0" presId="urn:microsoft.com/office/officeart/2005/8/layout/vList2"/>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F2A952B-8B1F-4A81-95B2-FE6D0C93768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5131F6F2-53E2-47D7-B836-76B41ADD98CC}">
      <dgm:prSet/>
      <dgm:spPr/>
      <dgm:t>
        <a:bodyPr/>
        <a:lstStyle/>
        <a:p>
          <a:pPr rtl="0"/>
          <a:r>
            <a:rPr lang="it-IT" dirty="0" smtClean="0"/>
            <a:t>Applicazioni delle KET s ai settori esistenti con maggiori potenzialità di sviluppo competitivo</a:t>
          </a:r>
          <a:endParaRPr lang="it-IT" dirty="0"/>
        </a:p>
      </dgm:t>
    </dgm:pt>
    <dgm:pt modelId="{CFE3FBC7-C9FB-4FB5-909B-C511C68BEA7F}" type="parTrans" cxnId="{4DD85B7B-C9AF-4EF5-9890-671A5EED9641}">
      <dgm:prSet/>
      <dgm:spPr/>
      <dgm:t>
        <a:bodyPr/>
        <a:lstStyle/>
        <a:p>
          <a:endParaRPr lang="it-IT"/>
        </a:p>
      </dgm:t>
    </dgm:pt>
    <dgm:pt modelId="{DCE95833-DB23-4095-9F3E-6CA8E4A63CD9}" type="sibTrans" cxnId="{4DD85B7B-C9AF-4EF5-9890-671A5EED9641}">
      <dgm:prSet/>
      <dgm:spPr/>
      <dgm:t>
        <a:bodyPr/>
        <a:lstStyle/>
        <a:p>
          <a:endParaRPr lang="it-IT"/>
        </a:p>
      </dgm:t>
    </dgm:pt>
    <dgm:pt modelId="{FFA70382-B56C-4782-9AC6-2589FCC02597}" type="pres">
      <dgm:prSet presAssocID="{FF2A952B-8B1F-4A81-95B2-FE6D0C93768D}" presName="linear" presStyleCnt="0">
        <dgm:presLayoutVars>
          <dgm:animLvl val="lvl"/>
          <dgm:resizeHandles val="exact"/>
        </dgm:presLayoutVars>
      </dgm:prSet>
      <dgm:spPr/>
      <dgm:t>
        <a:bodyPr/>
        <a:lstStyle/>
        <a:p>
          <a:endParaRPr lang="it-IT"/>
        </a:p>
      </dgm:t>
    </dgm:pt>
    <dgm:pt modelId="{5C7320C9-9B3C-43B0-ABDA-0630C0911D53}" type="pres">
      <dgm:prSet presAssocID="{5131F6F2-53E2-47D7-B836-76B41ADD98CC}" presName="parentText" presStyleLbl="node1" presStyleIdx="0" presStyleCnt="1" custLinFactNeighborY="-16468">
        <dgm:presLayoutVars>
          <dgm:chMax val="0"/>
          <dgm:bulletEnabled val="1"/>
        </dgm:presLayoutVars>
      </dgm:prSet>
      <dgm:spPr/>
      <dgm:t>
        <a:bodyPr/>
        <a:lstStyle/>
        <a:p>
          <a:endParaRPr lang="it-IT"/>
        </a:p>
      </dgm:t>
    </dgm:pt>
  </dgm:ptLst>
  <dgm:cxnLst>
    <dgm:cxn modelId="{53C45996-EFD4-41FF-B71A-0E42C05F9426}" type="presOf" srcId="{5131F6F2-53E2-47D7-B836-76B41ADD98CC}" destId="{5C7320C9-9B3C-43B0-ABDA-0630C0911D53}" srcOrd="0" destOrd="0" presId="urn:microsoft.com/office/officeart/2005/8/layout/vList2"/>
    <dgm:cxn modelId="{4DD85B7B-C9AF-4EF5-9890-671A5EED9641}" srcId="{FF2A952B-8B1F-4A81-95B2-FE6D0C93768D}" destId="{5131F6F2-53E2-47D7-B836-76B41ADD98CC}" srcOrd="0" destOrd="0" parTransId="{CFE3FBC7-C9FB-4FB5-909B-C511C68BEA7F}" sibTransId="{DCE95833-DB23-4095-9F3E-6CA8E4A63CD9}"/>
    <dgm:cxn modelId="{309D7977-6FEB-459E-955B-A6302F79C44F}" type="presOf" srcId="{FF2A952B-8B1F-4A81-95B2-FE6D0C93768D}" destId="{FFA70382-B56C-4782-9AC6-2589FCC02597}" srcOrd="0" destOrd="0" presId="urn:microsoft.com/office/officeart/2005/8/layout/vList2"/>
    <dgm:cxn modelId="{C4ED0B1C-1569-484E-B058-CBB9181B75C8}" type="presParOf" srcId="{FFA70382-B56C-4782-9AC6-2589FCC02597}" destId="{5C7320C9-9B3C-43B0-ABDA-0630C0911D53}" srcOrd="0" destOrd="0" presId="urn:microsoft.com/office/officeart/2005/8/layout/vList2"/>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7D015C25-D274-4DD4-A8E3-370FD1A5676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4B8DF9EC-513C-4242-9EF7-06AC94FD0C25}">
      <dgm:prSet/>
      <dgm:spPr/>
      <dgm:t>
        <a:bodyPr/>
        <a:lstStyle/>
        <a:p>
          <a:pPr rtl="0"/>
          <a:r>
            <a:rPr lang="it-IT" dirty="0" smtClean="0"/>
            <a:t>Creazione di un nuovo tessuto produttivo innovation based</a:t>
          </a:r>
          <a:endParaRPr lang="it-IT" dirty="0"/>
        </a:p>
      </dgm:t>
    </dgm:pt>
    <dgm:pt modelId="{D983F1C9-8BC8-4602-A3F2-93DDE7DAAB0D}" type="parTrans" cxnId="{475FE5F3-6E68-4A02-B4FD-AE07C5326B6F}">
      <dgm:prSet/>
      <dgm:spPr/>
      <dgm:t>
        <a:bodyPr/>
        <a:lstStyle/>
        <a:p>
          <a:endParaRPr lang="it-IT"/>
        </a:p>
      </dgm:t>
    </dgm:pt>
    <dgm:pt modelId="{2EB66F02-20B0-4768-B7F1-3FF5151FA168}" type="sibTrans" cxnId="{475FE5F3-6E68-4A02-B4FD-AE07C5326B6F}">
      <dgm:prSet/>
      <dgm:spPr/>
      <dgm:t>
        <a:bodyPr/>
        <a:lstStyle/>
        <a:p>
          <a:endParaRPr lang="it-IT"/>
        </a:p>
      </dgm:t>
    </dgm:pt>
    <dgm:pt modelId="{D9605F58-5920-4B30-ABCB-8F331F35C100}" type="pres">
      <dgm:prSet presAssocID="{7D015C25-D274-4DD4-A8E3-370FD1A56760}" presName="linear" presStyleCnt="0">
        <dgm:presLayoutVars>
          <dgm:animLvl val="lvl"/>
          <dgm:resizeHandles val="exact"/>
        </dgm:presLayoutVars>
      </dgm:prSet>
      <dgm:spPr/>
      <dgm:t>
        <a:bodyPr/>
        <a:lstStyle/>
        <a:p>
          <a:endParaRPr lang="it-IT"/>
        </a:p>
      </dgm:t>
    </dgm:pt>
    <dgm:pt modelId="{A5E72158-CB87-4623-BAB3-0A89D8A44D36}" type="pres">
      <dgm:prSet presAssocID="{4B8DF9EC-513C-4242-9EF7-06AC94FD0C25}" presName="parentText" presStyleLbl="node1" presStyleIdx="0" presStyleCnt="1">
        <dgm:presLayoutVars>
          <dgm:chMax val="0"/>
          <dgm:bulletEnabled val="1"/>
        </dgm:presLayoutVars>
      </dgm:prSet>
      <dgm:spPr/>
      <dgm:t>
        <a:bodyPr/>
        <a:lstStyle/>
        <a:p>
          <a:endParaRPr lang="it-IT"/>
        </a:p>
      </dgm:t>
    </dgm:pt>
  </dgm:ptLst>
  <dgm:cxnLst>
    <dgm:cxn modelId="{1ADC8A9A-E9EC-4942-A4C5-66F88B2DA928}" type="presOf" srcId="{4B8DF9EC-513C-4242-9EF7-06AC94FD0C25}" destId="{A5E72158-CB87-4623-BAB3-0A89D8A44D36}" srcOrd="0" destOrd="0" presId="urn:microsoft.com/office/officeart/2005/8/layout/vList2"/>
    <dgm:cxn modelId="{7542C827-D464-45E8-B7B3-FC1C705FB4F1}" type="presOf" srcId="{7D015C25-D274-4DD4-A8E3-370FD1A56760}" destId="{D9605F58-5920-4B30-ABCB-8F331F35C100}" srcOrd="0" destOrd="0" presId="urn:microsoft.com/office/officeart/2005/8/layout/vList2"/>
    <dgm:cxn modelId="{475FE5F3-6E68-4A02-B4FD-AE07C5326B6F}" srcId="{7D015C25-D274-4DD4-A8E3-370FD1A56760}" destId="{4B8DF9EC-513C-4242-9EF7-06AC94FD0C25}" srcOrd="0" destOrd="0" parTransId="{D983F1C9-8BC8-4602-A3F2-93DDE7DAAB0D}" sibTransId="{2EB66F02-20B0-4768-B7F1-3FF5151FA168}"/>
    <dgm:cxn modelId="{CD72E63C-AD44-4D38-B937-F0DC90F4E6D7}" type="presParOf" srcId="{D9605F58-5920-4B30-ABCB-8F331F35C100}" destId="{A5E72158-CB87-4623-BAB3-0A89D8A44D36}" srcOrd="0" destOrd="0" presId="urn:microsoft.com/office/officeart/2005/8/layout/vList2"/>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dgm:spPr/>
      <dgm:t>
        <a:bodyPr/>
        <a:lstStyle/>
        <a:p>
          <a:r>
            <a:rPr lang="it-IT" b="1" dirty="0" smtClean="0"/>
            <a:t>APPROCCIO BOTTOM UP</a:t>
          </a:r>
          <a:endParaRPr lang="it-IT"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I partecipanti al tavolo hanno il compito di </a:t>
          </a:r>
          <a:r>
            <a:rPr lang="it-IT" sz="3600" b="0" u="sng" dirty="0" smtClean="0">
              <a:solidFill>
                <a:srgbClr val="FF0000"/>
              </a:solidFill>
            </a:rPr>
            <a:t>condividere e fornire  conoscenze </a:t>
          </a:r>
          <a:r>
            <a:rPr lang="it-IT" sz="3600" b="0" dirty="0" smtClean="0">
              <a:solidFill>
                <a:schemeClr val="accent1"/>
              </a:solidFill>
            </a:rPr>
            <a:t>in termini di analisi, diagnosi, </a:t>
          </a:r>
          <a:r>
            <a:rPr lang="it-IT" sz="3600" b="0" dirty="0" err="1" smtClean="0">
              <a:solidFill>
                <a:schemeClr val="accent1"/>
              </a:solidFill>
            </a:rPr>
            <a:t>vision</a:t>
          </a:r>
          <a:r>
            <a:rPr lang="it-IT" sz="3600" b="0" dirty="0" smtClean="0">
              <a:solidFill>
                <a:schemeClr val="accent1"/>
              </a:solidFill>
            </a:rPr>
            <a:t> per </a:t>
          </a:r>
          <a:r>
            <a:rPr lang="it-IT" sz="3600" b="0" u="sng" dirty="0" smtClean="0">
              <a:solidFill>
                <a:srgbClr val="FF0000"/>
              </a:solidFill>
            </a:rPr>
            <a:t>completare</a:t>
          </a:r>
          <a:r>
            <a:rPr lang="it-IT" sz="3600" b="0" dirty="0" smtClean="0">
              <a:solidFill>
                <a:schemeClr val="accent1"/>
              </a:solidFill>
            </a:rPr>
            <a:t>  la definizione della RIS 3 Sicilia</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2318E277-3EFC-48B8-9399-5E20B36EEAEF}" type="presOf" srcId="{F23A2E33-A7A9-4C0C-9E2D-FE9B09B27B0C}" destId="{4B75031E-EAE2-44AE-A204-79AAE3CD8BF2}"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37388B86-25A3-4C64-BBF9-5226FDF8AEA7}" type="presOf" srcId="{FA935D20-D649-4F38-A41B-69E90530D632}" destId="{19C3370D-7B6A-4F3C-8C78-C38DF1D2FA31}" srcOrd="0" destOrd="0" presId="urn:microsoft.com/office/officeart/2005/8/layout/vList5"/>
    <dgm:cxn modelId="{5ED130BC-D9AC-4BAC-B4AC-979EB7404A6E}"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B3E4F99A-53B0-410E-AD13-9B4FF2527A31}" type="presParOf" srcId="{67CAF0F0-11C7-41D4-B458-17DD1ACC65D7}" destId="{91EF4C2B-0965-4D66-A48D-ECB7ACAE5C2D}" srcOrd="0" destOrd="0" presId="urn:microsoft.com/office/officeart/2005/8/layout/vList5"/>
    <dgm:cxn modelId="{4C48504B-495E-472A-8088-96DBD718D43B}" type="presParOf" srcId="{91EF4C2B-0965-4D66-A48D-ECB7ACAE5C2D}" destId="{4B75031E-EAE2-44AE-A204-79AAE3CD8BF2}" srcOrd="0" destOrd="0" presId="urn:microsoft.com/office/officeart/2005/8/layout/vList5"/>
    <dgm:cxn modelId="{DE0FB966-C264-4140-B8C2-2A78D6BF7C4D}"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54395A23-3C95-4CBC-9E16-034A70E80C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342C2DC4-F633-4C80-8A7C-2DFCF0691567}">
      <dgm:prSet/>
      <dgm:spPr/>
      <dgm:t>
        <a:bodyPr/>
        <a:lstStyle/>
        <a:p>
          <a:pPr rtl="0"/>
          <a:r>
            <a:rPr lang="it-IT" dirty="0" smtClean="0"/>
            <a:t>Sostegno all’uso diffuso delle Innovazioni  (anche non </a:t>
          </a:r>
          <a:r>
            <a:rPr lang="it-IT" dirty="0" err="1" smtClean="0"/>
            <a:t>tech</a:t>
          </a:r>
          <a:r>
            <a:rPr lang="it-IT" dirty="0" smtClean="0"/>
            <a:t>) in risposta alle sfide sociali emergenti negli ambienti urbani e marginali</a:t>
          </a:r>
          <a:endParaRPr lang="it-IT" dirty="0"/>
        </a:p>
      </dgm:t>
    </dgm:pt>
    <dgm:pt modelId="{64F10A69-B06F-439A-978F-86236E0EED9C}" type="parTrans" cxnId="{B6C8E77B-179A-4EF2-8B05-541CDA249637}">
      <dgm:prSet/>
      <dgm:spPr/>
      <dgm:t>
        <a:bodyPr/>
        <a:lstStyle/>
        <a:p>
          <a:endParaRPr lang="it-IT"/>
        </a:p>
      </dgm:t>
    </dgm:pt>
    <dgm:pt modelId="{0DB94241-3B8B-4153-8F2C-70BD3A18212B}" type="sibTrans" cxnId="{B6C8E77B-179A-4EF2-8B05-541CDA249637}">
      <dgm:prSet/>
      <dgm:spPr/>
      <dgm:t>
        <a:bodyPr/>
        <a:lstStyle/>
        <a:p>
          <a:endParaRPr lang="it-IT"/>
        </a:p>
      </dgm:t>
    </dgm:pt>
    <dgm:pt modelId="{57F98EC0-5F68-4A62-9815-9F2088DB35F4}" type="pres">
      <dgm:prSet presAssocID="{54395A23-3C95-4CBC-9E16-034A70E80C7A}" presName="linear" presStyleCnt="0">
        <dgm:presLayoutVars>
          <dgm:animLvl val="lvl"/>
          <dgm:resizeHandles val="exact"/>
        </dgm:presLayoutVars>
      </dgm:prSet>
      <dgm:spPr/>
      <dgm:t>
        <a:bodyPr/>
        <a:lstStyle/>
        <a:p>
          <a:endParaRPr lang="it-IT"/>
        </a:p>
      </dgm:t>
    </dgm:pt>
    <dgm:pt modelId="{EE4CACD3-EE37-4975-9E62-2F328C6C370E}" type="pres">
      <dgm:prSet presAssocID="{342C2DC4-F633-4C80-8A7C-2DFCF0691567}" presName="parentText" presStyleLbl="node1" presStyleIdx="0" presStyleCnt="1" custLinFactNeighborY="-4960">
        <dgm:presLayoutVars>
          <dgm:chMax val="0"/>
          <dgm:bulletEnabled val="1"/>
        </dgm:presLayoutVars>
      </dgm:prSet>
      <dgm:spPr/>
      <dgm:t>
        <a:bodyPr/>
        <a:lstStyle/>
        <a:p>
          <a:endParaRPr lang="it-IT"/>
        </a:p>
      </dgm:t>
    </dgm:pt>
  </dgm:ptLst>
  <dgm:cxnLst>
    <dgm:cxn modelId="{1CB14B89-D3DC-43D5-8F3F-C92141597008}" type="presOf" srcId="{54395A23-3C95-4CBC-9E16-034A70E80C7A}" destId="{57F98EC0-5F68-4A62-9815-9F2088DB35F4}" srcOrd="0" destOrd="0" presId="urn:microsoft.com/office/officeart/2005/8/layout/vList2"/>
    <dgm:cxn modelId="{4616CB8B-DE71-43D1-9AD7-2AEF42A9A080}" type="presOf" srcId="{342C2DC4-F633-4C80-8A7C-2DFCF0691567}" destId="{EE4CACD3-EE37-4975-9E62-2F328C6C370E}" srcOrd="0" destOrd="0" presId="urn:microsoft.com/office/officeart/2005/8/layout/vList2"/>
    <dgm:cxn modelId="{B6C8E77B-179A-4EF2-8B05-541CDA249637}" srcId="{54395A23-3C95-4CBC-9E16-034A70E80C7A}" destId="{342C2DC4-F633-4C80-8A7C-2DFCF0691567}" srcOrd="0" destOrd="0" parTransId="{64F10A69-B06F-439A-978F-86236E0EED9C}" sibTransId="{0DB94241-3B8B-4153-8F2C-70BD3A18212B}"/>
    <dgm:cxn modelId="{0D401BA3-34A0-4FF5-8960-3B5D62E6AFC8}" type="presParOf" srcId="{57F98EC0-5F68-4A62-9815-9F2088DB35F4}" destId="{EE4CACD3-EE37-4975-9E62-2F328C6C370E}" srcOrd="0" destOrd="0" presId="urn:microsoft.com/office/officeart/2005/8/layout/vList2"/>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B7C63F1F-37AF-49BC-BBEB-5E74A137DE0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75218A5C-A37B-4816-9306-EEA349973F5E}">
      <dgm:prSet/>
      <dgm:spPr/>
      <dgm:t>
        <a:bodyPr/>
        <a:lstStyle/>
        <a:p>
          <a:pPr rtl="0"/>
          <a:r>
            <a:rPr lang="it-IT" dirty="0" smtClean="0"/>
            <a:t>Sostegno a nuove categorie di innovatori sociali e di creativi  culturali </a:t>
          </a:r>
          <a:endParaRPr lang="it-IT" dirty="0"/>
        </a:p>
      </dgm:t>
    </dgm:pt>
    <dgm:pt modelId="{A7D65231-8A40-4214-86D2-04268A6CD1AB}" type="parTrans" cxnId="{67585602-D54D-4782-9537-8870E433BAC0}">
      <dgm:prSet/>
      <dgm:spPr/>
      <dgm:t>
        <a:bodyPr/>
        <a:lstStyle/>
        <a:p>
          <a:endParaRPr lang="it-IT"/>
        </a:p>
      </dgm:t>
    </dgm:pt>
    <dgm:pt modelId="{BB6D7AD5-3235-4C94-9B20-0BBCB424F3DA}" type="sibTrans" cxnId="{67585602-D54D-4782-9537-8870E433BAC0}">
      <dgm:prSet/>
      <dgm:spPr/>
      <dgm:t>
        <a:bodyPr/>
        <a:lstStyle/>
        <a:p>
          <a:endParaRPr lang="it-IT"/>
        </a:p>
      </dgm:t>
    </dgm:pt>
    <dgm:pt modelId="{3E7B7DB2-5C50-46DE-8199-527C1A2C9C81}" type="pres">
      <dgm:prSet presAssocID="{B7C63F1F-37AF-49BC-BBEB-5E74A137DE0D}" presName="linear" presStyleCnt="0">
        <dgm:presLayoutVars>
          <dgm:animLvl val="lvl"/>
          <dgm:resizeHandles val="exact"/>
        </dgm:presLayoutVars>
      </dgm:prSet>
      <dgm:spPr/>
      <dgm:t>
        <a:bodyPr/>
        <a:lstStyle/>
        <a:p>
          <a:endParaRPr lang="it-IT"/>
        </a:p>
      </dgm:t>
    </dgm:pt>
    <dgm:pt modelId="{486AD86E-5163-40B0-AE34-CC51738A6EFB}" type="pres">
      <dgm:prSet presAssocID="{75218A5C-A37B-4816-9306-EEA349973F5E}" presName="parentText" presStyleLbl="node1" presStyleIdx="0" presStyleCnt="1" custLinFactNeighborY="-27492">
        <dgm:presLayoutVars>
          <dgm:chMax val="0"/>
          <dgm:bulletEnabled val="1"/>
        </dgm:presLayoutVars>
      </dgm:prSet>
      <dgm:spPr/>
      <dgm:t>
        <a:bodyPr/>
        <a:lstStyle/>
        <a:p>
          <a:endParaRPr lang="it-IT"/>
        </a:p>
      </dgm:t>
    </dgm:pt>
  </dgm:ptLst>
  <dgm:cxnLst>
    <dgm:cxn modelId="{67585602-D54D-4782-9537-8870E433BAC0}" srcId="{B7C63F1F-37AF-49BC-BBEB-5E74A137DE0D}" destId="{75218A5C-A37B-4816-9306-EEA349973F5E}" srcOrd="0" destOrd="0" parTransId="{A7D65231-8A40-4214-86D2-04268A6CD1AB}" sibTransId="{BB6D7AD5-3235-4C94-9B20-0BBCB424F3DA}"/>
    <dgm:cxn modelId="{9A879694-C333-4BFD-880E-CAA3E1683E0F}" type="presOf" srcId="{75218A5C-A37B-4816-9306-EEA349973F5E}" destId="{486AD86E-5163-40B0-AE34-CC51738A6EFB}" srcOrd="0" destOrd="0" presId="urn:microsoft.com/office/officeart/2005/8/layout/vList2"/>
    <dgm:cxn modelId="{374470FE-FB36-4B60-BDAA-24621FBE370A}" type="presOf" srcId="{B7C63F1F-37AF-49BC-BBEB-5E74A137DE0D}" destId="{3E7B7DB2-5C50-46DE-8199-527C1A2C9C81}" srcOrd="0" destOrd="0" presId="urn:microsoft.com/office/officeart/2005/8/layout/vList2"/>
    <dgm:cxn modelId="{7A7B8802-78A3-4507-A55E-C1B824328802}" type="presParOf" srcId="{3E7B7DB2-5C50-46DE-8199-527C1A2C9C81}" destId="{486AD86E-5163-40B0-AE34-CC51738A6EFB}" srcOrd="0" destOrd="0" presId="urn:microsoft.com/office/officeart/2005/8/layout/vList2"/>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9F45F9F9-E7F1-4D12-B562-AA4345E774A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BA2B7103-6937-4879-B678-0F2246078975}">
      <dgm:prSet custT="1"/>
      <dgm:spPr/>
      <dgm:t>
        <a:bodyPr/>
        <a:lstStyle/>
        <a:p>
          <a:pPr rtl="0"/>
          <a:r>
            <a:rPr lang="it-IT" sz="1100" dirty="0" smtClean="0"/>
            <a:t>Diffusione della cultura dell’innovazione a tutti i livelli della società regionale</a:t>
          </a:r>
          <a:endParaRPr lang="it-IT" sz="1100" dirty="0"/>
        </a:p>
      </dgm:t>
    </dgm:pt>
    <dgm:pt modelId="{03FB00C7-8265-4781-A621-250439406826}" type="parTrans" cxnId="{A0A4B6A5-0FAC-4873-B138-51F3385522E4}">
      <dgm:prSet/>
      <dgm:spPr/>
      <dgm:t>
        <a:bodyPr/>
        <a:lstStyle/>
        <a:p>
          <a:endParaRPr lang="it-IT"/>
        </a:p>
      </dgm:t>
    </dgm:pt>
    <dgm:pt modelId="{3622B74C-A085-4A94-9A74-FADC376FB6FA}" type="sibTrans" cxnId="{A0A4B6A5-0FAC-4873-B138-51F3385522E4}">
      <dgm:prSet/>
      <dgm:spPr/>
      <dgm:t>
        <a:bodyPr/>
        <a:lstStyle/>
        <a:p>
          <a:endParaRPr lang="it-IT"/>
        </a:p>
      </dgm:t>
    </dgm:pt>
    <dgm:pt modelId="{C64E127B-0611-40E3-A846-DBF56D81913E}" type="pres">
      <dgm:prSet presAssocID="{9F45F9F9-E7F1-4D12-B562-AA4345E774A4}" presName="linear" presStyleCnt="0">
        <dgm:presLayoutVars>
          <dgm:animLvl val="lvl"/>
          <dgm:resizeHandles val="exact"/>
        </dgm:presLayoutVars>
      </dgm:prSet>
      <dgm:spPr/>
      <dgm:t>
        <a:bodyPr/>
        <a:lstStyle/>
        <a:p>
          <a:endParaRPr lang="it-IT"/>
        </a:p>
      </dgm:t>
    </dgm:pt>
    <dgm:pt modelId="{A9E7FA22-3B92-4733-BB85-6986F285FB2A}" type="pres">
      <dgm:prSet presAssocID="{BA2B7103-6937-4879-B678-0F2246078975}" presName="parentText" presStyleLbl="node1" presStyleIdx="0" presStyleCnt="1" custLinFactNeighborX="-475" custLinFactNeighborY="-43867">
        <dgm:presLayoutVars>
          <dgm:chMax val="0"/>
          <dgm:bulletEnabled val="1"/>
        </dgm:presLayoutVars>
      </dgm:prSet>
      <dgm:spPr/>
      <dgm:t>
        <a:bodyPr/>
        <a:lstStyle/>
        <a:p>
          <a:endParaRPr lang="it-IT"/>
        </a:p>
      </dgm:t>
    </dgm:pt>
  </dgm:ptLst>
  <dgm:cxnLst>
    <dgm:cxn modelId="{A0A4B6A5-0FAC-4873-B138-51F3385522E4}" srcId="{9F45F9F9-E7F1-4D12-B562-AA4345E774A4}" destId="{BA2B7103-6937-4879-B678-0F2246078975}" srcOrd="0" destOrd="0" parTransId="{03FB00C7-8265-4781-A621-250439406826}" sibTransId="{3622B74C-A085-4A94-9A74-FADC376FB6FA}"/>
    <dgm:cxn modelId="{BC60B85D-3A16-4D14-B894-1AEEB72E9BB3}" type="presOf" srcId="{BA2B7103-6937-4879-B678-0F2246078975}" destId="{A9E7FA22-3B92-4733-BB85-6986F285FB2A}" srcOrd="0" destOrd="0" presId="urn:microsoft.com/office/officeart/2005/8/layout/vList2"/>
    <dgm:cxn modelId="{CB545793-C11F-4AFC-BBE9-57A2E6F2D8AC}" type="presOf" srcId="{9F45F9F9-E7F1-4D12-B562-AA4345E774A4}" destId="{C64E127B-0611-40E3-A846-DBF56D81913E}" srcOrd="0" destOrd="0" presId="urn:microsoft.com/office/officeart/2005/8/layout/vList2"/>
    <dgm:cxn modelId="{D3423541-9813-4CDA-BB26-EA76A352ABB5}" type="presParOf" srcId="{C64E127B-0611-40E3-A846-DBF56D81913E}" destId="{A9E7FA22-3B92-4733-BB85-6986F285FB2A}" srcOrd="0" destOrd="0" presId="urn:microsoft.com/office/officeart/2005/8/layout/vList2"/>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ccordi di Programma/ITI</a:t>
          </a:r>
        </a:p>
        <a:p>
          <a:pPr rtl="0">
            <a:lnSpc>
              <a:spcPct val="100000"/>
            </a:lnSpc>
            <a:spcAft>
              <a:spcPts val="0"/>
            </a:spcAft>
          </a:pPr>
          <a:r>
            <a:rPr lang="it-IT" sz="1500" dirty="0" smtClean="0">
              <a:latin typeface="Calibri" panose="020F0502020204030204" pitchFamily="34" charset="0"/>
            </a:rPr>
            <a:t> </a:t>
          </a:r>
          <a:r>
            <a:rPr lang="it-IT" sz="1500" i="1" dirty="0" smtClean="0">
              <a:latin typeface="Calibri" panose="020F0502020204030204" pitchFamily="34" charset="0"/>
            </a:rPr>
            <a:t>Procedure negoziali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F98E39A3-E35D-4839-A389-A03834B3B02A}"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55BF37CF-8358-434C-8A3A-8CF310B43A6B}" type="presOf" srcId="{886FCA53-2B50-4919-9D84-B3341636C061}" destId="{AF161DBD-193F-4E53-9953-839E85CF1C7D}" srcOrd="0" destOrd="0" presId="urn:microsoft.com/office/officeart/2008/layout/VerticalCircleList"/>
    <dgm:cxn modelId="{472EA65F-E2B3-4A4D-B4B9-542FCC6B3CCE}" type="presParOf" srcId="{AF161DBD-193F-4E53-9953-839E85CF1C7D}" destId="{41EEB0CA-07A8-4FF5-8967-C48F01E36B29}" srcOrd="0" destOrd="0" presId="urn:microsoft.com/office/officeart/2008/layout/VerticalCircleList"/>
    <dgm:cxn modelId="{6B751BB4-483D-49D3-AD85-8C7127B926CF}" type="presParOf" srcId="{41EEB0CA-07A8-4FF5-8967-C48F01E36B29}" destId="{AAA1C512-E96F-4798-9282-083A0E274468}" srcOrd="0" destOrd="0" presId="urn:microsoft.com/office/officeart/2008/layout/VerticalCircleList"/>
    <dgm:cxn modelId="{9EF08101-2A6F-4AE7-853F-EBCB5B25A4C2}" type="presParOf" srcId="{41EEB0CA-07A8-4FF5-8967-C48F01E36B29}" destId="{74BC567D-A420-4605-8CAF-34A3430FBCC5}" srcOrd="1" destOrd="0" presId="urn:microsoft.com/office/officeart/2008/layout/VerticalCircleList"/>
    <dgm:cxn modelId="{D124567A-4722-4B2F-A358-A227FD27030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ntratti di Rete</a:t>
          </a:r>
        </a:p>
        <a:p>
          <a:pPr rtl="0">
            <a:lnSpc>
              <a:spcPct val="100000"/>
            </a:lnSpc>
            <a:spcAft>
              <a:spcPts val="0"/>
            </a:spcAft>
          </a:pPr>
          <a:r>
            <a:rPr lang="it-IT" sz="1500" b="1" dirty="0" smtClean="0">
              <a:latin typeface="Calibri" panose="020F0502020204030204" pitchFamily="34" charset="0"/>
            </a:rPr>
            <a:t> </a:t>
          </a:r>
          <a:r>
            <a:rPr lang="it-IT" sz="1500" b="0" i="1" dirty="0" smtClean="0">
              <a:latin typeface="Calibri" panose="020F0502020204030204" pitchFamily="34" charset="0"/>
            </a:rPr>
            <a:t>Procedure negoziali </a:t>
          </a:r>
          <a:endParaRPr lang="it-IT" sz="1500" b="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F9870107-3DDA-4426-AF6E-DE4448F21044}" type="presOf" srcId="{DF7312F5-2151-4B18-9FE3-27B38D9DAE81}" destId="{1EF007DE-E38E-41BB-9C84-DBA6EE5550E0}" srcOrd="0" destOrd="0" presId="urn:microsoft.com/office/officeart/2008/layout/VerticalCircleList"/>
    <dgm:cxn modelId="{62F6CA71-E92B-40B8-A83A-A5F7A1CDD724}" type="presOf" srcId="{886FCA53-2B50-4919-9D84-B3341636C061}" destId="{AF161DBD-193F-4E53-9953-839E85CF1C7D}" srcOrd="0" destOrd="0" presId="urn:microsoft.com/office/officeart/2008/layout/VerticalCircleList"/>
    <dgm:cxn modelId="{159C981B-3716-4083-98E6-51412062E4D6}" type="presParOf" srcId="{AF161DBD-193F-4E53-9953-839E85CF1C7D}" destId="{41EEB0CA-07A8-4FF5-8967-C48F01E36B29}" srcOrd="0" destOrd="0" presId="urn:microsoft.com/office/officeart/2008/layout/VerticalCircleList"/>
    <dgm:cxn modelId="{FB8C3CC2-342A-4AE3-9D1C-8EBF48CC7B81}" type="presParOf" srcId="{41EEB0CA-07A8-4FF5-8967-C48F01E36B29}" destId="{AAA1C512-E96F-4798-9282-083A0E274468}" srcOrd="0" destOrd="0" presId="urn:microsoft.com/office/officeart/2008/layout/VerticalCircleList"/>
    <dgm:cxn modelId="{2027FF53-C63E-4BB5-AD8D-D8095B9F8D48}" type="presParOf" srcId="{41EEB0CA-07A8-4FF5-8967-C48F01E36B29}" destId="{74BC567D-A420-4605-8CAF-34A3430FBCC5}" srcOrd="1" destOrd="0" presId="urn:microsoft.com/office/officeart/2008/layout/VerticalCircleList"/>
    <dgm:cxn modelId="{0D50DE2C-FA51-46C6-8BE4-6CEA3AEF9396}"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 Start up e spin off</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56B566FA-8933-4EF6-BBED-40255CD41879}" type="presOf" srcId="{886FCA53-2B50-4919-9D84-B3341636C061}" destId="{AF161DBD-193F-4E53-9953-839E85CF1C7D}" srcOrd="0" destOrd="0" presId="urn:microsoft.com/office/officeart/2008/layout/VerticalCircleList"/>
    <dgm:cxn modelId="{B00E2D39-46E1-47BF-8BDE-D2895AE493BA}"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43FB6A08-2F2B-4225-A09F-9CE688B5EA43}" type="presParOf" srcId="{AF161DBD-193F-4E53-9953-839E85CF1C7D}" destId="{41EEB0CA-07A8-4FF5-8967-C48F01E36B29}" srcOrd="0" destOrd="0" presId="urn:microsoft.com/office/officeart/2008/layout/VerticalCircleList"/>
    <dgm:cxn modelId="{05C7A10D-0B34-49D2-8BE8-374E3FC9C5DA}" type="presParOf" srcId="{41EEB0CA-07A8-4FF5-8967-C48F01E36B29}" destId="{AAA1C512-E96F-4798-9282-083A0E274468}" srcOrd="0" destOrd="0" presId="urn:microsoft.com/office/officeart/2008/layout/VerticalCircleList"/>
    <dgm:cxn modelId="{808E8E2A-E0A3-4EFC-AA09-E7CDE223CD79}" type="presParOf" srcId="{41EEB0CA-07A8-4FF5-8967-C48F01E36B29}" destId="{74BC567D-A420-4605-8CAF-34A3430FBCC5}" srcOrd="1" destOrd="0" presId="urn:microsoft.com/office/officeart/2008/layout/VerticalCircleList"/>
    <dgm:cxn modelId="{DFA54E0C-C2CA-4A59-B3A4-13AFE911CDE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Cluster Nazional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BDE5D30-217C-456F-9B3B-0B4DC39BD8BC}"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B4418C6C-697D-4395-994B-9C52A8888F26}" type="presOf" srcId="{886FCA53-2B50-4919-9D84-B3341636C061}" destId="{AF161DBD-193F-4E53-9953-839E85CF1C7D}" srcOrd="0" destOrd="0" presId="urn:microsoft.com/office/officeart/2008/layout/VerticalCircleList"/>
    <dgm:cxn modelId="{C3BD5575-9F8F-4F54-8F24-6B419D66A174}" type="presParOf" srcId="{AF161DBD-193F-4E53-9953-839E85CF1C7D}" destId="{41EEB0CA-07A8-4FF5-8967-C48F01E36B29}" srcOrd="0" destOrd="0" presId="urn:microsoft.com/office/officeart/2008/layout/VerticalCircleList"/>
    <dgm:cxn modelId="{B1F035C8-53D6-44F5-A789-390D0139959C}" type="presParOf" srcId="{41EEB0CA-07A8-4FF5-8967-C48F01E36B29}" destId="{AAA1C512-E96F-4798-9282-083A0E274468}" srcOrd="0" destOrd="0" presId="urn:microsoft.com/office/officeart/2008/layout/VerticalCircleList"/>
    <dgm:cxn modelId="{4A8BFD6B-2E23-4A04-A1B4-BC11B440F68D}" type="presParOf" srcId="{41EEB0CA-07A8-4FF5-8967-C48F01E36B29}" destId="{74BC567D-A420-4605-8CAF-34A3430FBCC5}" srcOrd="1" destOrd="0" presId="urn:microsoft.com/office/officeart/2008/layout/VerticalCircleList"/>
    <dgm:cxn modelId="{657EB54C-C33A-4A36-ABC5-C6B69929F4A2}"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finanziamento progetti Horizon 2020 </a:t>
          </a:r>
          <a:endParaRPr lang="it-IT" sz="1500" b="1"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48E52C8-5EDC-4700-A4C5-91D09FF96987}"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998D3C95-D5C0-4171-9CD0-3BC262B86D6F}" type="presOf" srcId="{886FCA53-2B50-4919-9D84-B3341636C061}" destId="{AF161DBD-193F-4E53-9953-839E85CF1C7D}" srcOrd="0" destOrd="0" presId="urn:microsoft.com/office/officeart/2008/layout/VerticalCircleList"/>
    <dgm:cxn modelId="{3A458B54-1A06-48AE-8968-F6A500BD1940}" type="presParOf" srcId="{AF161DBD-193F-4E53-9953-839E85CF1C7D}" destId="{41EEB0CA-07A8-4FF5-8967-C48F01E36B29}" srcOrd="0" destOrd="0" presId="urn:microsoft.com/office/officeart/2008/layout/VerticalCircleList"/>
    <dgm:cxn modelId="{F0B77D23-BD1E-45F5-87DA-9E86F8D1C0B3}" type="presParOf" srcId="{41EEB0CA-07A8-4FF5-8967-C48F01E36B29}" destId="{AAA1C512-E96F-4798-9282-083A0E274468}" srcOrd="0" destOrd="0" presId="urn:microsoft.com/office/officeart/2008/layout/VerticalCircleList"/>
    <dgm:cxn modelId="{D88EBB81-795A-4B00-9E70-5739928BD908}" type="presParOf" srcId="{41EEB0CA-07A8-4FF5-8967-C48F01E36B29}" destId="{74BC567D-A420-4605-8CAF-34A3430FBCC5}" srcOrd="1" destOrd="0" presId="urn:microsoft.com/office/officeart/2008/layout/VerticalCircleList"/>
    <dgm:cxn modelId="{C572E162-77D7-423D-975B-7D5EDA0920E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Fondi di Venture Capital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57A2EBE-81E1-426C-9901-C9F817660941}"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D4C9128A-1C59-4BA4-819B-0CB5D655E22F}" type="presOf" srcId="{DF7312F5-2151-4B18-9FE3-27B38D9DAE81}" destId="{1EF007DE-E38E-41BB-9C84-DBA6EE5550E0}" srcOrd="0" destOrd="0" presId="urn:microsoft.com/office/officeart/2008/layout/VerticalCircleList"/>
    <dgm:cxn modelId="{31553DA6-9D22-4CCA-B4F6-CAFA193D4991}" type="presParOf" srcId="{AF161DBD-193F-4E53-9953-839E85CF1C7D}" destId="{41EEB0CA-07A8-4FF5-8967-C48F01E36B29}" srcOrd="0" destOrd="0" presId="urn:microsoft.com/office/officeart/2008/layout/VerticalCircleList"/>
    <dgm:cxn modelId="{C43A9F95-4708-45CB-9608-D9BD7C1BEE95}" type="presParOf" srcId="{41EEB0CA-07A8-4FF5-8967-C48F01E36B29}" destId="{AAA1C512-E96F-4798-9282-083A0E274468}" srcOrd="0" destOrd="0" presId="urn:microsoft.com/office/officeart/2008/layout/VerticalCircleList"/>
    <dgm:cxn modelId="{4E36E101-DE00-4998-8A5C-BF676BEA1080}" type="presParOf" srcId="{41EEB0CA-07A8-4FF5-8967-C48F01E36B29}" destId="{74BC567D-A420-4605-8CAF-34A3430FBCC5}" srcOrd="1" destOrd="0" presId="urn:microsoft.com/office/officeart/2008/layout/VerticalCircleList"/>
    <dgm:cxn modelId="{F517B913-E8B9-4775-B17D-0840E79359CC}"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algn="just" rtl="0">
            <a:lnSpc>
              <a:spcPct val="100000"/>
            </a:lnSpc>
            <a:spcAft>
              <a:spcPts val="0"/>
            </a:spcAft>
          </a:pPr>
          <a:r>
            <a:rPr lang="it-IT" sz="1500" b="1" dirty="0" smtClean="0">
              <a:solidFill>
                <a:schemeClr val="tx1"/>
              </a:solidFill>
              <a:latin typeface="Calibri" panose="020F0502020204030204" pitchFamily="34" charset="0"/>
            </a:rPr>
            <a:t>Incentivi</a:t>
          </a:r>
        </a:p>
        <a:p>
          <a:pPr algn="l" rtl="0">
            <a:lnSpc>
              <a:spcPct val="100000"/>
            </a:lnSpc>
            <a:spcAft>
              <a:spcPts val="0"/>
            </a:spcAft>
          </a:pP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a</a:t>
          </a: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brevettazione, prototipazione e copertura costi fase pre seed</a:t>
          </a:r>
          <a:endParaRPr lang="it-IT" sz="1500" b="0" i="1" dirty="0">
            <a:solidFill>
              <a:schemeClr val="tx1"/>
            </a:solidFill>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27A9192-886F-470B-AE01-1A9E9802540C}"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CC8E9368-FF7A-4F9A-B34D-549C254B5ECD}" type="presOf" srcId="{DF7312F5-2151-4B18-9FE3-27B38D9DAE81}" destId="{1EF007DE-E38E-41BB-9C84-DBA6EE5550E0}" srcOrd="0" destOrd="0" presId="urn:microsoft.com/office/officeart/2008/layout/VerticalCircleList"/>
    <dgm:cxn modelId="{CAFCD2A9-AA6C-4602-AFC9-8CE462B95B74}" type="presParOf" srcId="{AF161DBD-193F-4E53-9953-839E85CF1C7D}" destId="{41EEB0CA-07A8-4FF5-8967-C48F01E36B29}" srcOrd="0" destOrd="0" presId="urn:microsoft.com/office/officeart/2008/layout/VerticalCircleList"/>
    <dgm:cxn modelId="{9B741C88-F0B1-4A07-B343-6AC8421C5213}" type="presParOf" srcId="{41EEB0CA-07A8-4FF5-8967-C48F01E36B29}" destId="{AAA1C512-E96F-4798-9282-083A0E274468}" srcOrd="0" destOrd="0" presId="urn:microsoft.com/office/officeart/2008/layout/VerticalCircleList"/>
    <dgm:cxn modelId="{1EE55CE4-1A1B-4102-ADE4-5378E2818118}" type="presParOf" srcId="{41EEB0CA-07A8-4FF5-8967-C48F01E36B29}" destId="{74BC567D-A420-4605-8CAF-34A3430FBCC5}" srcOrd="1" destOrd="0" presId="urn:microsoft.com/office/officeart/2008/layout/VerticalCircleList"/>
    <dgm:cxn modelId="{BC8717C2-DC86-4665-9DA0-717ECD484B38}"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osa dobbiamo fare</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77B8B8C7-4122-42A2-B5A2-FF900C6E2B05}" type="presOf" srcId="{37F295A9-2A2E-416D-9AE6-C3404377959E}" destId="{58FB0A67-F67A-40BA-890E-A840ED83B605}" srcOrd="0" destOrd="0" presId="urn:microsoft.com/office/officeart/2008/layout/LinedList"/>
    <dgm:cxn modelId="{6E7943CF-BF91-4AD0-8CFB-DCA78DFA6C27}"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73CD19F-25D2-4269-867B-9A3BF4627EFB}" type="presParOf" srcId="{58FB0A67-F67A-40BA-890E-A840ED83B605}" destId="{AB26EC88-0333-42E8-B340-C2B4FE18384A}" srcOrd="0" destOrd="0" presId="urn:microsoft.com/office/officeart/2008/layout/LinedList"/>
    <dgm:cxn modelId="{3E760791-5F7E-47E3-A115-3A59FA7EC286}" type="presParOf" srcId="{58FB0A67-F67A-40BA-890E-A840ED83B605}" destId="{45792684-4DE0-4EDD-B49A-A40AB3BD4B9E}" srcOrd="1" destOrd="0" presId="urn:microsoft.com/office/officeart/2008/layout/LinedList"/>
    <dgm:cxn modelId="{00D22FCC-872A-459A-B8C3-1168A25D2848}" type="presParOf" srcId="{45792684-4DE0-4EDD-B49A-A40AB3BD4B9E}" destId="{7D920113-6D83-4974-923F-4CAA40CA2FDB}" srcOrd="0" destOrd="0" presId="urn:microsoft.com/office/officeart/2008/layout/LinedList"/>
    <dgm:cxn modelId="{DD59D7FD-BDC5-4BA6-9FDD-4D16C803AE08}"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Voucher Tecnologici e all’acquisizione di KIBS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43AE74C-2F4B-4F4B-9812-2A77B9300B39}"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2CE0B3FC-C952-4A41-BAD1-32DA1F96E0AA}" type="presOf" srcId="{DF7312F5-2151-4B18-9FE3-27B38D9DAE81}" destId="{1EF007DE-E38E-41BB-9C84-DBA6EE5550E0}" srcOrd="0" destOrd="0" presId="urn:microsoft.com/office/officeart/2008/layout/VerticalCircleList"/>
    <dgm:cxn modelId="{E9D9316E-280B-40BE-A5D6-82EE04361BA6}" type="presParOf" srcId="{AF161DBD-193F-4E53-9953-839E85CF1C7D}" destId="{41EEB0CA-07A8-4FF5-8967-C48F01E36B29}" srcOrd="0" destOrd="0" presId="urn:microsoft.com/office/officeart/2008/layout/VerticalCircleList"/>
    <dgm:cxn modelId="{B0EE7703-CE8D-41B0-A527-DE9AD00585D5}" type="presParOf" srcId="{41EEB0CA-07A8-4FF5-8967-C48F01E36B29}" destId="{AAA1C512-E96F-4798-9282-083A0E274468}" srcOrd="0" destOrd="0" presId="urn:microsoft.com/office/officeart/2008/layout/VerticalCircleList"/>
    <dgm:cxn modelId="{9109FF13-F644-4712-8920-D961A83248A8}" type="presParOf" srcId="{41EEB0CA-07A8-4FF5-8967-C48F01E36B29}" destId="{74BC567D-A420-4605-8CAF-34A3430FBCC5}" srcOrd="1" destOrd="0" presId="urn:microsoft.com/office/officeart/2008/layout/VerticalCircleList"/>
    <dgm:cxn modelId="{EB84D0C4-7FFA-48D4-B191-823626E12EA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ll’innovazione sociale</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67925D4E-02B6-45C2-B81F-806E5C2FFA22}" type="presOf" srcId="{886FCA53-2B50-4919-9D84-B3341636C061}" destId="{AF161DBD-193F-4E53-9953-839E85CF1C7D}" srcOrd="0" destOrd="0" presId="urn:microsoft.com/office/officeart/2008/layout/VerticalCircleList"/>
    <dgm:cxn modelId="{56625CD2-A3C5-4D58-9B76-19B9CF8806C8}" type="presOf" srcId="{DF7312F5-2151-4B18-9FE3-27B38D9DAE81}" destId="{1EF007DE-E38E-41BB-9C84-DBA6EE5550E0}" srcOrd="0" destOrd="0" presId="urn:microsoft.com/office/officeart/2008/layout/VerticalCircleList"/>
    <dgm:cxn modelId="{4BBB60A8-033B-48E1-B8D2-9FCB6959441F}" type="presParOf" srcId="{AF161DBD-193F-4E53-9953-839E85CF1C7D}" destId="{41EEB0CA-07A8-4FF5-8967-C48F01E36B29}" srcOrd="0" destOrd="0" presId="urn:microsoft.com/office/officeart/2008/layout/VerticalCircleList"/>
    <dgm:cxn modelId="{B0BF30A5-AC61-4D43-9CF6-258B57FC6280}" type="presParOf" srcId="{41EEB0CA-07A8-4FF5-8967-C48F01E36B29}" destId="{AAA1C512-E96F-4798-9282-083A0E274468}" srcOrd="0" destOrd="0" presId="urn:microsoft.com/office/officeart/2008/layout/VerticalCircleList"/>
    <dgm:cxn modelId="{08C7A1E7-6B74-4ED2-9F3A-12CBC3FFCD61}" type="presParOf" srcId="{41EEB0CA-07A8-4FF5-8967-C48F01E36B29}" destId="{74BC567D-A420-4605-8CAF-34A3430FBCC5}" srcOrd="1" destOrd="0" presId="urn:microsoft.com/office/officeart/2008/layout/VerticalCircleList"/>
    <dgm:cxn modelId="{2B781774-575F-4311-B97A-846B2A2885CD}"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zioni di attrazione di talent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FE36D01F-47B9-481F-9425-3A739A22EAE4}"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C24AC064-FBD6-40EE-87E5-F814608E6D7B}" type="presOf" srcId="{886FCA53-2B50-4919-9D84-B3341636C061}" destId="{AF161DBD-193F-4E53-9953-839E85CF1C7D}" srcOrd="0" destOrd="0" presId="urn:microsoft.com/office/officeart/2008/layout/VerticalCircleList"/>
    <dgm:cxn modelId="{37CA31CD-3384-4BBA-AE05-D6393DBBF7AF}" type="presParOf" srcId="{AF161DBD-193F-4E53-9953-839E85CF1C7D}" destId="{41EEB0CA-07A8-4FF5-8967-C48F01E36B29}" srcOrd="0" destOrd="0" presId="urn:microsoft.com/office/officeart/2008/layout/VerticalCircleList"/>
    <dgm:cxn modelId="{BA0A54AB-F2C3-4148-9F59-5EFB50E9E84E}" type="presParOf" srcId="{41EEB0CA-07A8-4FF5-8967-C48F01E36B29}" destId="{AAA1C512-E96F-4798-9282-083A0E274468}" srcOrd="0" destOrd="0" presId="urn:microsoft.com/office/officeart/2008/layout/VerticalCircleList"/>
    <dgm:cxn modelId="{54067847-7D57-45BF-A64D-4A61A2F72EFA}" type="presParOf" srcId="{41EEB0CA-07A8-4FF5-8967-C48F01E36B29}" destId="{74BC567D-A420-4605-8CAF-34A3430FBCC5}" srcOrd="1" destOrd="0" presId="urn:microsoft.com/office/officeart/2008/layout/VerticalCircleList"/>
    <dgm:cxn modelId="{E0CE9EF9-310F-4D8F-99AA-207BDE83B02C}"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Procurement</a:t>
          </a:r>
          <a:r>
            <a:rPr lang="it-IT" sz="1500" b="1" i="0" baseline="0" dirty="0" smtClean="0">
              <a:latin typeface="Calibri" panose="020F0502020204030204" pitchFamily="34" charset="0"/>
            </a:rPr>
            <a:t> precommerci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8EE16541-D4F9-479F-8AAF-FBFC7D3877BF}" type="presOf" srcId="{DF7312F5-2151-4B18-9FE3-27B38D9DAE81}" destId="{1EF007DE-E38E-41BB-9C84-DBA6EE5550E0}" srcOrd="0" destOrd="0" presId="urn:microsoft.com/office/officeart/2008/layout/VerticalCircleList"/>
    <dgm:cxn modelId="{E2A4E403-B83F-4F7A-8A3B-460AE31DC69B}" type="presOf" srcId="{886FCA53-2B50-4919-9D84-B3341636C061}" destId="{AF161DBD-193F-4E53-9953-839E85CF1C7D}" srcOrd="0" destOrd="0" presId="urn:microsoft.com/office/officeart/2008/layout/VerticalCircleList"/>
    <dgm:cxn modelId="{8346D0FC-C4C6-4D04-AF94-42675462699D}" type="presParOf" srcId="{AF161DBD-193F-4E53-9953-839E85CF1C7D}" destId="{41EEB0CA-07A8-4FF5-8967-C48F01E36B29}" srcOrd="0" destOrd="0" presId="urn:microsoft.com/office/officeart/2008/layout/VerticalCircleList"/>
    <dgm:cxn modelId="{076BFF2F-D60A-4278-B6E7-369EBFD446FC}" type="presParOf" srcId="{41EEB0CA-07A8-4FF5-8967-C48F01E36B29}" destId="{AAA1C512-E96F-4798-9282-083A0E274468}" srcOrd="0" destOrd="0" presId="urn:microsoft.com/office/officeart/2008/layout/VerticalCircleList"/>
    <dgm:cxn modelId="{F4D13AC0-3578-4C9A-8658-363B62B8E259}" type="presParOf" srcId="{41EEB0CA-07A8-4FF5-8967-C48F01E36B29}" destId="{74BC567D-A420-4605-8CAF-34A3430FBCC5}" srcOrd="1" destOrd="0" presId="urn:microsoft.com/office/officeart/2008/layout/VerticalCircleList"/>
    <dgm:cxn modelId="{59991DB8-4161-4015-AFF8-4901FEEF815E}"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1"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Living</a:t>
          </a:r>
          <a:r>
            <a:rPr lang="it-IT" sz="1500" b="1" i="0" baseline="0" dirty="0" smtClean="0">
              <a:latin typeface="Calibri" panose="020F0502020204030204" pitchFamily="34" charset="0"/>
            </a:rPr>
            <a:t> Labs e Fab Labs</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0D47666C-6B80-44B8-AAAF-472FEDAE0AAC}" type="presOf" srcId="{DF7312F5-2151-4B18-9FE3-27B38D9DAE81}" destId="{1EF007DE-E38E-41BB-9C84-DBA6EE5550E0}" srcOrd="0" destOrd="0" presId="urn:microsoft.com/office/officeart/2008/layout/VerticalCircleList"/>
    <dgm:cxn modelId="{A51242DC-3E62-4A75-ABD5-DB1C129DA9BE}" type="presOf" srcId="{886FCA53-2B50-4919-9D84-B3341636C061}" destId="{AF161DBD-193F-4E53-9953-839E85CF1C7D}" srcOrd="0" destOrd="0" presId="urn:microsoft.com/office/officeart/2008/layout/VerticalCircleList"/>
    <dgm:cxn modelId="{4FAE9261-13E1-4AAF-A776-0F972B6EDB6D}" type="presParOf" srcId="{AF161DBD-193F-4E53-9953-839E85CF1C7D}" destId="{41EEB0CA-07A8-4FF5-8967-C48F01E36B29}" srcOrd="0" destOrd="0" presId="urn:microsoft.com/office/officeart/2008/layout/VerticalCircleList"/>
    <dgm:cxn modelId="{83E9A34B-F0E2-470C-B07A-E56A57DB18E9}" type="presParOf" srcId="{41EEB0CA-07A8-4FF5-8967-C48F01E36B29}" destId="{AAA1C512-E96F-4798-9282-083A0E274468}" srcOrd="0" destOrd="0" presId="urn:microsoft.com/office/officeart/2008/layout/VerticalCircleList"/>
    <dgm:cxn modelId="{173BB29D-5E8E-4578-92EF-B6B03E084354}" type="presParOf" srcId="{41EEB0CA-07A8-4FF5-8967-C48F01E36B29}" destId="{74BC567D-A420-4605-8CAF-34A3430FBCC5}" srcOrd="1" destOrd="0" presId="urn:microsoft.com/office/officeart/2008/layout/VerticalCircleList"/>
    <dgm:cxn modelId="{8FB98641-4A07-4E22-AEAD-9387D4C303A2}"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6"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a:t>
          </a:r>
          <a:r>
            <a:rPr lang="it-IT" sz="1500" b="1" i="0" baseline="0" dirty="0" smtClean="0">
              <a:latin typeface="Calibri" panose="020F0502020204030204" pitchFamily="34" charset="0"/>
            </a:rPr>
            <a:t> continua e permanente su IC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584EA21C-F721-49E5-8BBC-31C32F7B43B0}" type="presOf" srcId="{886FCA53-2B50-4919-9D84-B3341636C061}" destId="{AF161DBD-193F-4E53-9953-839E85CF1C7D}" srcOrd="0" destOrd="0" presId="urn:microsoft.com/office/officeart/2008/layout/VerticalCircleList"/>
    <dgm:cxn modelId="{9030E38A-0E8B-4F9F-BF29-A19C81A93862}" type="presOf" srcId="{DF7312F5-2151-4B18-9FE3-27B38D9DAE81}" destId="{1EF007DE-E38E-41BB-9C84-DBA6EE5550E0}" srcOrd="0" destOrd="0" presId="urn:microsoft.com/office/officeart/2008/layout/VerticalCircleList"/>
    <dgm:cxn modelId="{1FD52597-51EF-4299-80DC-CE25A4F2262C}" type="presParOf" srcId="{AF161DBD-193F-4E53-9953-839E85CF1C7D}" destId="{41EEB0CA-07A8-4FF5-8967-C48F01E36B29}" srcOrd="0" destOrd="0" presId="urn:microsoft.com/office/officeart/2008/layout/VerticalCircleList"/>
    <dgm:cxn modelId="{F0A1E4B8-F3A5-4BC9-BEBC-D91421CEB3EB}" type="presParOf" srcId="{41EEB0CA-07A8-4FF5-8967-C48F01E36B29}" destId="{AAA1C512-E96F-4798-9282-083A0E274468}" srcOrd="0" destOrd="0" presId="urn:microsoft.com/office/officeart/2008/layout/VerticalCircleList"/>
    <dgm:cxn modelId="{BBBD4C5D-98C1-41F8-8E06-4BF06D66B9E3}" type="presParOf" srcId="{41EEB0CA-07A8-4FF5-8967-C48F01E36B29}" destId="{74BC567D-A420-4605-8CAF-34A3430FBCC5}" srcOrd="1" destOrd="0" presId="urn:microsoft.com/office/officeart/2008/layout/VerticalCircleList"/>
    <dgm:cxn modelId="{0F581264-558C-4D81-A484-FDA8970EAEB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1"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Sostegno a PEI</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538CFFE5-10FC-4061-9F0C-B332380C873D}"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B7636389-E7FF-4FC0-9F09-2595A04EEBB4}" type="presOf" srcId="{886FCA53-2B50-4919-9D84-B3341636C061}" destId="{AF161DBD-193F-4E53-9953-839E85CF1C7D}" srcOrd="0" destOrd="0" presId="urn:microsoft.com/office/officeart/2008/layout/VerticalCircleList"/>
    <dgm:cxn modelId="{43C83F6D-87C5-408A-8568-397ABB65A440}" type="presParOf" srcId="{AF161DBD-193F-4E53-9953-839E85CF1C7D}" destId="{41EEB0CA-07A8-4FF5-8967-C48F01E36B29}" srcOrd="0" destOrd="0" presId="urn:microsoft.com/office/officeart/2008/layout/VerticalCircleList"/>
    <dgm:cxn modelId="{726AE3F7-5A4E-4B5C-9302-4F01EB0921D3}" type="presParOf" srcId="{41EEB0CA-07A8-4FF5-8967-C48F01E36B29}" destId="{AAA1C512-E96F-4798-9282-083A0E274468}" srcOrd="0" destOrd="0" presId="urn:microsoft.com/office/officeart/2008/layout/VerticalCircleList"/>
    <dgm:cxn modelId="{F583DCFF-3B85-41F2-BFE0-964A13D6893A}" type="presParOf" srcId="{41EEB0CA-07A8-4FF5-8967-C48F01E36B29}" destId="{74BC567D-A420-4605-8CAF-34A3430FBCC5}" srcOrd="1" destOrd="0" presId="urn:microsoft.com/office/officeart/2008/layout/VerticalCircleList"/>
    <dgm:cxn modelId="{0E2BC7C7-006D-478C-82E8-6366274D50B5}"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 Open </a:t>
          </a:r>
          <a:r>
            <a:rPr lang="it-IT" sz="1500" b="1" i="0" dirty="0" err="1" smtClean="0">
              <a:latin typeface="Calibri" panose="020F0502020204030204" pitchFamily="34" charset="0"/>
            </a:rPr>
            <a:t>Governmen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8FE2F6AF-E690-42D0-B7BF-5BBBDD79885D}" type="presOf" srcId="{886FCA53-2B50-4919-9D84-B3341636C061}" destId="{AF161DBD-193F-4E53-9953-839E85CF1C7D}" srcOrd="0" destOrd="0" presId="urn:microsoft.com/office/officeart/2008/layout/VerticalCircleList"/>
    <dgm:cxn modelId="{8EA9BBB8-D974-4892-8351-8F2EC23D93CD}" type="presOf" srcId="{DF7312F5-2151-4B18-9FE3-27B38D9DAE81}" destId="{1EF007DE-E38E-41BB-9C84-DBA6EE5550E0}" srcOrd="0" destOrd="0" presId="urn:microsoft.com/office/officeart/2008/layout/VerticalCircleList"/>
    <dgm:cxn modelId="{BA9AD660-7961-4BFF-8760-67BACE0880E1}" type="presParOf" srcId="{AF161DBD-193F-4E53-9953-839E85CF1C7D}" destId="{41EEB0CA-07A8-4FF5-8967-C48F01E36B29}" srcOrd="0" destOrd="0" presId="urn:microsoft.com/office/officeart/2008/layout/VerticalCircleList"/>
    <dgm:cxn modelId="{313DAB7B-051D-4B68-8A45-BA0755A66ABB}" type="presParOf" srcId="{41EEB0CA-07A8-4FF5-8967-C48F01E36B29}" destId="{AAA1C512-E96F-4798-9282-083A0E274468}" srcOrd="0" destOrd="0" presId="urn:microsoft.com/office/officeart/2008/layout/VerticalCircleList"/>
    <dgm:cxn modelId="{E1051277-1C66-4F1F-8C7E-775757290DB1}" type="presParOf" srcId="{41EEB0CA-07A8-4FF5-8967-C48F01E36B29}" destId="{74BC567D-A420-4605-8CAF-34A3430FBCC5}" srcOrd="1" destOrd="0" presId="urn:microsoft.com/office/officeart/2008/layout/VerticalCircleList"/>
    <dgm:cxn modelId="{A300DD43-D865-45C3-B000-9BA14F35F0F6}"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1"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Iniziative pilote di scambio transnazion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27560DAB-B26A-42ED-9D05-02938827F6D7}" type="presOf" srcId="{DF7312F5-2151-4B18-9FE3-27B38D9DAE81}" destId="{1EF007DE-E38E-41BB-9C84-DBA6EE5550E0}" srcOrd="0" destOrd="0" presId="urn:microsoft.com/office/officeart/2008/layout/VerticalCircleList"/>
    <dgm:cxn modelId="{C1E82453-EFF5-438A-B229-83C7DD5424ED}"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2624C25C-A38C-41A0-9EEB-2D98961FB20C}" type="presParOf" srcId="{AF161DBD-193F-4E53-9953-839E85CF1C7D}" destId="{41EEB0CA-07A8-4FF5-8967-C48F01E36B29}" srcOrd="0" destOrd="0" presId="urn:microsoft.com/office/officeart/2008/layout/VerticalCircleList"/>
    <dgm:cxn modelId="{B49F2145-0B89-4BE2-8AD1-D6276B0B6F64}" type="presParOf" srcId="{41EEB0CA-07A8-4FF5-8967-C48F01E36B29}" destId="{AAA1C512-E96F-4798-9282-083A0E274468}" srcOrd="0" destOrd="0" presId="urn:microsoft.com/office/officeart/2008/layout/VerticalCircleList"/>
    <dgm:cxn modelId="{AAB37C93-8C4B-46D7-8DC3-5808B0F58912}" type="presParOf" srcId="{41EEB0CA-07A8-4FF5-8967-C48F01E36B29}" destId="{74BC567D-A420-4605-8CAF-34A3430FBCC5}" srcOrd="1" destOrd="0" presId="urn:microsoft.com/office/officeart/2008/layout/VerticalCircleList"/>
    <dgm:cxn modelId="{9D7B40B1-1F55-4A46-9D94-D5326D7EAA45}"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6"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3471B385-D51D-4B62-9A6B-249C5AC9C98A}" type="doc">
      <dgm:prSet loTypeId="urn:microsoft.com/office/officeart/2005/8/layout/vList2" loCatId="list" qsTypeId="urn:microsoft.com/office/officeart/2005/8/quickstyle/simple1" qsCatId="simple" csTypeId="urn:microsoft.com/office/officeart/2005/8/colors/accent3_2" csCatId="accent3"/>
      <dgm:spPr/>
      <dgm:t>
        <a:bodyPr/>
        <a:lstStyle/>
        <a:p>
          <a:endParaRPr lang="it-IT"/>
        </a:p>
      </dgm:t>
    </dgm:pt>
    <dgm:pt modelId="{3A5B02CC-7645-4578-B93E-5BB7EC17E14F}">
      <dgm:prSet custT="1"/>
      <dgm:spPr/>
      <dgm:t>
        <a:bodyPr/>
        <a:lstStyle/>
        <a:p>
          <a:pPr algn="ctr" rtl="0"/>
          <a:r>
            <a:rPr lang="it-IT" sz="1800" b="1" dirty="0" smtClean="0"/>
            <a:t>Delimitazione Perimetro d’Ambito </a:t>
          </a:r>
          <a:endParaRPr lang="it-IT" sz="1800" b="1" dirty="0"/>
        </a:p>
      </dgm:t>
    </dgm:pt>
    <dgm:pt modelId="{351EEFE8-C4BB-4CB7-AEBE-8201FB869313}" type="parTrans" cxnId="{1503FA43-4BF0-43A7-9A00-7EAC2347F067}">
      <dgm:prSet/>
      <dgm:spPr/>
      <dgm:t>
        <a:bodyPr/>
        <a:lstStyle/>
        <a:p>
          <a:pPr algn="ctr"/>
          <a:endParaRPr lang="it-IT"/>
        </a:p>
      </dgm:t>
    </dgm:pt>
    <dgm:pt modelId="{32FBC651-736E-4FFF-A514-285EE5B82172}" type="sibTrans" cxnId="{1503FA43-4BF0-43A7-9A00-7EAC2347F067}">
      <dgm:prSet/>
      <dgm:spPr/>
      <dgm:t>
        <a:bodyPr/>
        <a:lstStyle/>
        <a:p>
          <a:pPr algn="ctr"/>
          <a:endParaRPr lang="it-IT"/>
        </a:p>
      </dgm:t>
    </dgm:pt>
    <dgm:pt modelId="{0931DA6C-1101-4D88-9476-40F778BD96D7}" type="pres">
      <dgm:prSet presAssocID="{3471B385-D51D-4B62-9A6B-249C5AC9C98A}" presName="linear" presStyleCnt="0">
        <dgm:presLayoutVars>
          <dgm:animLvl val="lvl"/>
          <dgm:resizeHandles val="exact"/>
        </dgm:presLayoutVars>
      </dgm:prSet>
      <dgm:spPr/>
      <dgm:t>
        <a:bodyPr/>
        <a:lstStyle/>
        <a:p>
          <a:endParaRPr lang="it-IT"/>
        </a:p>
      </dgm:t>
    </dgm:pt>
    <dgm:pt modelId="{EA40DB6F-53FC-4451-8412-D98A1010BCCC}" type="pres">
      <dgm:prSet presAssocID="{3A5B02CC-7645-4578-B93E-5BB7EC17E14F}" presName="parentText" presStyleLbl="node1" presStyleIdx="0" presStyleCnt="1" custLinFactY="75489" custLinFactNeighborX="5909" custLinFactNeighborY="100000">
        <dgm:presLayoutVars>
          <dgm:chMax val="0"/>
          <dgm:bulletEnabled val="1"/>
        </dgm:presLayoutVars>
      </dgm:prSet>
      <dgm:spPr/>
      <dgm:t>
        <a:bodyPr/>
        <a:lstStyle/>
        <a:p>
          <a:endParaRPr lang="it-IT"/>
        </a:p>
      </dgm:t>
    </dgm:pt>
  </dgm:ptLst>
  <dgm:cxnLst>
    <dgm:cxn modelId="{E6A95748-5D55-48A4-B184-5C9EE407704A}" type="presOf" srcId="{3471B385-D51D-4B62-9A6B-249C5AC9C98A}" destId="{0931DA6C-1101-4D88-9476-40F778BD96D7}" srcOrd="0" destOrd="0" presId="urn:microsoft.com/office/officeart/2005/8/layout/vList2"/>
    <dgm:cxn modelId="{1503FA43-4BF0-43A7-9A00-7EAC2347F067}" srcId="{3471B385-D51D-4B62-9A6B-249C5AC9C98A}" destId="{3A5B02CC-7645-4578-B93E-5BB7EC17E14F}" srcOrd="0" destOrd="0" parTransId="{351EEFE8-C4BB-4CB7-AEBE-8201FB869313}" sibTransId="{32FBC651-736E-4FFF-A514-285EE5B82172}"/>
    <dgm:cxn modelId="{3862FACB-D371-4114-9672-2262DCBFC2B4}" type="presOf" srcId="{3A5B02CC-7645-4578-B93E-5BB7EC17E14F}" destId="{EA40DB6F-53FC-4451-8412-D98A1010BCCC}" srcOrd="0" destOrd="0" presId="urn:microsoft.com/office/officeart/2005/8/layout/vList2"/>
    <dgm:cxn modelId="{0CD4AAAB-0596-4DC5-9D74-7B5DA1D01299}" type="presParOf" srcId="{0931DA6C-1101-4D88-9476-40F778BD96D7}" destId="{EA40DB6F-53FC-4451-8412-D98A1010BCCC}"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Avvio tavolo</a:t>
          </a:r>
        </a:p>
        <a:p>
          <a:r>
            <a:rPr lang="it-IT" sz="4400" b="1" dirty="0" smtClean="0"/>
            <a:t>8 maggio 2014</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vere il quadro chiaro dove inserire il proprio contribut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Definire le modalità per l’elaborazione e/o l’invio del contributo</a:t>
          </a:r>
          <a:endParaRPr lang="it-IT" sz="3600" b="0" dirty="0">
            <a:solidFill>
              <a:schemeClr val="accent1"/>
            </a:solidFill>
          </a:endParaRPr>
        </a:p>
      </dgm:t>
    </dgm:pt>
    <dgm:pt modelId="{44FDFF5D-A5FE-4F6B-89B8-1FCC632B967C}" type="parTrans" cxnId="{BB9A4BB3-9E3F-4768-AB03-3A5823740DAC}">
      <dgm:prSet/>
      <dgm:spPr/>
    </dgm:pt>
    <dgm:pt modelId="{A44EEB28-BFA3-4413-89F9-8106007D5EF7}" type="sibTrans" cxnId="{BB9A4BB3-9E3F-4768-AB03-3A5823740DAC}">
      <dgm:prSet/>
      <dgm:spPr/>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2214E401-AF1E-4432-B2A9-4C3A34EBE78E}" type="presOf" srcId="{D446E03B-A085-4EAF-A9D7-21D9E631073A}" destId="{19C3370D-7B6A-4F3C-8C78-C38DF1D2FA31}" srcOrd="0" destOrd="1" presId="urn:microsoft.com/office/officeart/2005/8/layout/vList5"/>
    <dgm:cxn modelId="{BB9A4BB3-9E3F-4768-AB03-3A5823740DAC}" srcId="{F23A2E33-A7A9-4C0C-9E2D-FE9B09B27B0C}" destId="{D446E03B-A085-4EAF-A9D7-21D9E631073A}" srcOrd="1" destOrd="0" parTransId="{44FDFF5D-A5FE-4F6B-89B8-1FCC632B967C}" sibTransId="{A44EEB28-BFA3-4413-89F9-8106007D5EF7}"/>
    <dgm:cxn modelId="{87C7F8D4-2759-41E2-A8A6-ABC895629CCE}" type="presOf" srcId="{FA935D20-D649-4F38-A41B-69E90530D632}" destId="{19C3370D-7B6A-4F3C-8C78-C38DF1D2FA31}" srcOrd="0" destOrd="0" presId="urn:microsoft.com/office/officeart/2005/8/layout/vList5"/>
    <dgm:cxn modelId="{AB0E1966-FC40-4FEB-86DF-B8262F4E4B03}" type="presOf" srcId="{BE3B8733-AE13-4A7B-A32B-B74DE4C528D7}" destId="{67CAF0F0-11C7-41D4-B458-17DD1ACC65D7}"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B5597B61-078F-4165-BB61-86B52E3C6B1E}" type="presOf" srcId="{F23A2E33-A7A9-4C0C-9E2D-FE9B09B27B0C}" destId="{4B75031E-EAE2-44AE-A204-79AAE3CD8BF2}"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A042EA1B-7068-44E5-8E7C-F3ECF63C9A1F}" type="presParOf" srcId="{67CAF0F0-11C7-41D4-B458-17DD1ACC65D7}" destId="{91EF4C2B-0965-4D66-A48D-ECB7ACAE5C2D}" srcOrd="0" destOrd="0" presId="urn:microsoft.com/office/officeart/2005/8/layout/vList5"/>
    <dgm:cxn modelId="{3A51FB25-3017-4F4B-9366-F71B806D4384}" type="presParOf" srcId="{91EF4C2B-0965-4D66-A48D-ECB7ACAE5C2D}" destId="{4B75031E-EAE2-44AE-A204-79AAE3CD8BF2}" srcOrd="0" destOrd="0" presId="urn:microsoft.com/office/officeart/2005/8/layout/vList5"/>
    <dgm:cxn modelId="{490EC4AA-8D98-49F0-A7A7-E590707F1AF6}"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C5E7FE9D-1136-4183-932D-B744EC292338}"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F5E2117-DAD5-44F4-A948-EC1626A84F63}" type="presOf" srcId="{E4C7AF03-E2BD-4E48-8DAB-C1261D3D7EA9}" destId="{03DB856F-DE91-4CA0-AD05-B356DE21BFDC}" srcOrd="0" destOrd="0" presId="urn:microsoft.com/office/officeart/2005/8/layout/list1"/>
    <dgm:cxn modelId="{22D6FACB-72A5-492D-BD8C-96D7C0457058}" type="presOf" srcId="{E4C7AF03-E2BD-4E48-8DAB-C1261D3D7EA9}" destId="{21D380AD-5D38-4835-9FB5-615E5454C686}" srcOrd="1" destOrd="0" presId="urn:microsoft.com/office/officeart/2005/8/layout/list1"/>
    <dgm:cxn modelId="{1192B9E0-D277-4DC5-813C-08290AE19B38}" type="presParOf" srcId="{C08F212E-D010-4B1B-884C-243E8BB88BD2}" destId="{A042C0D5-6636-40E8-83EA-703099528EDB}" srcOrd="0" destOrd="0" presId="urn:microsoft.com/office/officeart/2005/8/layout/list1"/>
    <dgm:cxn modelId="{764BC5B8-DD6E-4243-9DAB-3789A5750C44}" type="presParOf" srcId="{A042C0D5-6636-40E8-83EA-703099528EDB}" destId="{03DB856F-DE91-4CA0-AD05-B356DE21BFDC}" srcOrd="0" destOrd="0" presId="urn:microsoft.com/office/officeart/2005/8/layout/list1"/>
    <dgm:cxn modelId="{43BFB3DA-F4C0-4566-A07C-7F93EACA4FBD}" type="presParOf" srcId="{A042C0D5-6636-40E8-83EA-703099528EDB}" destId="{21D380AD-5D38-4835-9FB5-615E5454C686}" srcOrd="1" destOrd="0" presId="urn:microsoft.com/office/officeart/2005/8/layout/list1"/>
    <dgm:cxn modelId="{79C18D4F-ED91-4FFD-B8B8-9E8B82543E70}" type="presParOf" srcId="{C08F212E-D010-4B1B-884C-243E8BB88BD2}" destId="{E77B3B8A-36B6-4AF7-9D59-DF889FA8E07C}" srcOrd="1" destOrd="0" presId="urn:microsoft.com/office/officeart/2005/8/layout/list1"/>
    <dgm:cxn modelId="{7D308D75-2142-4168-9512-5C28B1DD8263}"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9739F7DC-27A9-46E3-9755-2BB63C7FCBCE}" type="doc">
      <dgm:prSet loTypeId="urn:diagrams.loki3.com/BracketList+Icon" loCatId="list" qsTypeId="urn:microsoft.com/office/officeart/2005/8/quickstyle/simple1" qsCatId="simple" csTypeId="urn:microsoft.com/office/officeart/2005/8/colors/colorful5" csCatId="colorful" phldr="1"/>
      <dgm:spPr/>
      <dgm:t>
        <a:bodyPr/>
        <a:lstStyle/>
        <a:p>
          <a:endParaRPr lang="it-IT"/>
        </a:p>
      </dgm:t>
    </dgm:pt>
    <dgm:pt modelId="{3899A6F3-9543-41B5-BA8F-A858BC013813}">
      <dgm:prSet custT="1"/>
      <dgm:spPr/>
      <dgm:t>
        <a:bodyPr/>
        <a:lstStyle/>
        <a:p>
          <a:pPr algn="ctr" rtl="0"/>
          <a:r>
            <a:rPr lang="it-IT" sz="1400" b="1" dirty="0" smtClean="0"/>
            <a:t>Il contesto europeo</a:t>
          </a:r>
          <a:endParaRPr lang="it-IT" sz="1400" b="1" dirty="0"/>
        </a:p>
      </dgm:t>
    </dgm:pt>
    <dgm:pt modelId="{0429AAE2-A003-431E-815E-0D9C930F721D}" type="parTrans" cxnId="{2DC2E12C-0A2C-4B66-95AC-3ACD64A44CEA}">
      <dgm:prSet/>
      <dgm:spPr/>
      <dgm:t>
        <a:bodyPr/>
        <a:lstStyle/>
        <a:p>
          <a:endParaRPr lang="it-IT"/>
        </a:p>
      </dgm:t>
    </dgm:pt>
    <dgm:pt modelId="{BD8C1E50-369C-41DA-9A86-067CE6E750C2}" type="sibTrans" cxnId="{2DC2E12C-0A2C-4B66-95AC-3ACD64A44CEA}">
      <dgm:prSet/>
      <dgm:spPr/>
      <dgm:t>
        <a:bodyPr/>
        <a:lstStyle/>
        <a:p>
          <a:endParaRPr lang="it-IT"/>
        </a:p>
      </dgm:t>
    </dgm:pt>
    <dgm:pt modelId="{D123E187-BAA8-4062-9644-776F7E391AF0}" type="pres">
      <dgm:prSet presAssocID="{9739F7DC-27A9-46E3-9755-2BB63C7FCBCE}" presName="Name0" presStyleCnt="0">
        <dgm:presLayoutVars>
          <dgm:dir/>
          <dgm:animLvl val="lvl"/>
          <dgm:resizeHandles val="exact"/>
        </dgm:presLayoutVars>
      </dgm:prSet>
      <dgm:spPr/>
      <dgm:t>
        <a:bodyPr/>
        <a:lstStyle/>
        <a:p>
          <a:endParaRPr lang="it-IT"/>
        </a:p>
      </dgm:t>
    </dgm:pt>
    <dgm:pt modelId="{9A13C42B-521D-48A0-907C-7ED63731697F}" type="pres">
      <dgm:prSet presAssocID="{3899A6F3-9543-41B5-BA8F-A858BC013813}" presName="linNode" presStyleCnt="0"/>
      <dgm:spPr/>
      <dgm:t>
        <a:bodyPr/>
        <a:lstStyle/>
        <a:p>
          <a:endParaRPr lang="it-IT"/>
        </a:p>
      </dgm:t>
    </dgm:pt>
    <dgm:pt modelId="{D935C5E2-5E25-4F86-8C19-90A32DE12900}" type="pres">
      <dgm:prSet presAssocID="{3899A6F3-9543-41B5-BA8F-A858BC013813}" presName="parTx" presStyleLbl="revTx" presStyleIdx="0" presStyleCnt="1" custScaleX="244903" custScaleY="67447" custLinFactX="-31655" custLinFactNeighborX="-100000" custLinFactNeighborY="-1542">
        <dgm:presLayoutVars>
          <dgm:chMax val="1"/>
          <dgm:bulletEnabled val="1"/>
        </dgm:presLayoutVars>
      </dgm:prSet>
      <dgm:spPr/>
      <dgm:t>
        <a:bodyPr/>
        <a:lstStyle/>
        <a:p>
          <a:endParaRPr lang="it-IT"/>
        </a:p>
      </dgm:t>
    </dgm:pt>
    <dgm:pt modelId="{379B0A50-5782-4FE7-BA42-0F6C7D5ABCE7}" type="pres">
      <dgm:prSet presAssocID="{3899A6F3-9543-41B5-BA8F-A858BC013813}" presName="bracket" presStyleLbl="parChTrans1D1" presStyleIdx="0" presStyleCnt="1" custScaleX="508604" custScaleY="352656" custLinFactX="-200000" custLinFactNeighborX="-269130" custLinFactNeighborY="0"/>
      <dgm:spPr/>
      <dgm:t>
        <a:bodyPr/>
        <a:lstStyle/>
        <a:p>
          <a:endParaRPr lang="it-IT"/>
        </a:p>
      </dgm:t>
    </dgm:pt>
    <dgm:pt modelId="{8EA97D42-A622-4808-ACC7-B0FA284C15A2}" type="pres">
      <dgm:prSet presAssocID="{3899A6F3-9543-41B5-BA8F-A858BC013813}" presName="spH" presStyleCnt="0"/>
      <dgm:spPr/>
      <dgm:t>
        <a:bodyPr/>
        <a:lstStyle/>
        <a:p>
          <a:endParaRPr lang="it-IT"/>
        </a:p>
      </dgm:t>
    </dgm:pt>
  </dgm:ptLst>
  <dgm:cxnLst>
    <dgm:cxn modelId="{9E69D99D-AAB0-4494-AC5F-E96CA2A11D0E}" type="presOf" srcId="{3899A6F3-9543-41B5-BA8F-A858BC013813}" destId="{D935C5E2-5E25-4F86-8C19-90A32DE12900}" srcOrd="0" destOrd="0" presId="urn:diagrams.loki3.com/BracketList+Icon"/>
    <dgm:cxn modelId="{2DC2E12C-0A2C-4B66-95AC-3ACD64A44CEA}" srcId="{9739F7DC-27A9-46E3-9755-2BB63C7FCBCE}" destId="{3899A6F3-9543-41B5-BA8F-A858BC013813}" srcOrd="0" destOrd="0" parTransId="{0429AAE2-A003-431E-815E-0D9C930F721D}" sibTransId="{BD8C1E50-369C-41DA-9A86-067CE6E750C2}"/>
    <dgm:cxn modelId="{6B80C4BC-7A6E-410E-ACD6-723694894F4B}" type="presOf" srcId="{9739F7DC-27A9-46E3-9755-2BB63C7FCBCE}" destId="{D123E187-BAA8-4062-9644-776F7E391AF0}" srcOrd="0" destOrd="0" presId="urn:diagrams.loki3.com/BracketList+Icon"/>
    <dgm:cxn modelId="{D1950604-CCAC-4BB7-9563-2C88481D3184}" type="presParOf" srcId="{D123E187-BAA8-4062-9644-776F7E391AF0}" destId="{9A13C42B-521D-48A0-907C-7ED63731697F}" srcOrd="0" destOrd="0" presId="urn:diagrams.loki3.com/BracketList+Icon"/>
    <dgm:cxn modelId="{E8101CFB-0E3E-4DD6-9501-082779B56ED2}" type="presParOf" srcId="{9A13C42B-521D-48A0-907C-7ED63731697F}" destId="{D935C5E2-5E25-4F86-8C19-90A32DE12900}" srcOrd="0" destOrd="0" presId="urn:diagrams.loki3.com/BracketList+Icon"/>
    <dgm:cxn modelId="{B3D56ED5-FE12-4880-9822-EF6398234E1A}" type="presParOf" srcId="{9A13C42B-521D-48A0-907C-7ED63731697F}" destId="{379B0A50-5782-4FE7-BA42-0F6C7D5ABCE7}" srcOrd="1" destOrd="0" presId="urn:diagrams.loki3.com/BracketList+Icon"/>
    <dgm:cxn modelId="{15CE1B22-CD40-40AE-A134-4CD5479B2ADA}" type="presParOf" srcId="{9A13C42B-521D-48A0-907C-7ED63731697F}" destId="{8EA97D42-A622-4808-ACC7-B0FA284C15A2}" srcOrd="2" destOrd="0" presId="urn:diagrams.loki3.com/BracketLis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E94440B5-B491-4990-8637-244F230AE04F}" type="doc">
      <dgm:prSet loTypeId="urn:microsoft.com/office/officeart/2005/8/layout/vList2" loCatId="list" qsTypeId="urn:microsoft.com/office/officeart/2005/8/quickstyle/simple5" qsCatId="simple" csTypeId="urn:microsoft.com/office/officeart/2005/8/colors/colorful4" csCatId="colorful" phldr="1"/>
      <dgm:spPr/>
      <dgm:t>
        <a:bodyPr/>
        <a:lstStyle/>
        <a:p>
          <a:endParaRPr lang="it-IT"/>
        </a:p>
      </dgm:t>
    </dgm:pt>
    <dgm:pt modelId="{4DCF4696-1E34-49F3-AF18-169E25E4655D}">
      <dgm:prSet custT="1"/>
      <dgm:spPr/>
      <dgm:t>
        <a:bodyPr/>
        <a:lstStyle/>
        <a:p>
          <a:pPr algn="just" rtl="0"/>
          <a:r>
            <a:rPr lang="it-IT" sz="1200" b="1" dirty="0" smtClean="0">
              <a:effectLst/>
            </a:rPr>
            <a:t> </a:t>
          </a:r>
          <a:r>
            <a:rPr lang="it-IT" sz="1100" b="1" dirty="0" smtClean="0">
              <a:latin typeface="+mn-lt"/>
            </a:rPr>
            <a:t>L’Unione Europea, la seconda economia mondiale, consuma un quinto dell’energia prodotta nel mondo, pur possedendo una percentuale molto ridotta di riserve energetiche. Una delle caratteristiche dell’Europa consiste nella sua dipendenza energetica dall’estero.</a:t>
          </a:r>
          <a:endParaRPr lang="it-IT" sz="1100" b="1" dirty="0">
            <a:effectLst/>
            <a:latin typeface="+mn-lt"/>
          </a:endParaRPr>
        </a:p>
      </dgm:t>
    </dgm:pt>
    <dgm:pt modelId="{8EB4DA72-6014-460A-87B1-B31144D85A0A}" type="parTrans" cxnId="{0B57C862-2D11-4D09-B786-282C3DD06D31}">
      <dgm:prSet/>
      <dgm:spPr/>
      <dgm:t>
        <a:bodyPr/>
        <a:lstStyle/>
        <a:p>
          <a:endParaRPr lang="it-IT"/>
        </a:p>
      </dgm:t>
    </dgm:pt>
    <dgm:pt modelId="{3203C5DE-E287-4161-A5D2-FD85EE93B33B}" type="sibTrans" cxnId="{0B57C862-2D11-4D09-B786-282C3DD06D31}">
      <dgm:prSet/>
      <dgm:spPr/>
      <dgm:t>
        <a:bodyPr/>
        <a:lstStyle/>
        <a:p>
          <a:endParaRPr lang="it-IT"/>
        </a:p>
      </dgm:t>
    </dgm:pt>
    <dgm:pt modelId="{12539769-B089-4B1D-BE11-E82E88084E09}">
      <dgm:prSet custT="1"/>
      <dgm:spPr/>
      <dgm:t>
        <a:bodyPr/>
        <a:lstStyle/>
        <a:p>
          <a:pPr algn="just" rtl="0"/>
          <a:r>
            <a:rPr lang="it-IT" sz="1100" b="1" dirty="0" smtClean="0">
              <a:latin typeface="+mn-lt"/>
            </a:rPr>
            <a:t>Le crescenti preoccupazioni legate alla sicurezza dell’approvvigionamento energetico da un lato e gli effetti negativi legati alla produzione di energia mediante l’impiego di risorse fossili, hanno collocato il tema dell’accesso a fonti energetiche pulite e sostenibili, da alcuni decenni a questa parte, al centro dell’agenda politica europea, tanto da fare dell’UE, un soggetto pioniere nell’adozioni di policy energetiche sempre più ambiziose. </a:t>
          </a:r>
          <a:endParaRPr lang="it-IT" sz="1100" b="1" dirty="0">
            <a:latin typeface="+mn-lt"/>
          </a:endParaRPr>
        </a:p>
      </dgm:t>
    </dgm:pt>
    <dgm:pt modelId="{F2BBEE18-1EFC-4456-924C-DC6B38805FEF}" type="parTrans" cxnId="{70776CB4-9213-471F-A8D8-372B3E3390CB}">
      <dgm:prSet/>
      <dgm:spPr/>
      <dgm:t>
        <a:bodyPr/>
        <a:lstStyle/>
        <a:p>
          <a:endParaRPr lang="it-IT"/>
        </a:p>
      </dgm:t>
    </dgm:pt>
    <dgm:pt modelId="{0D9A5DFB-15A0-472F-9E09-689FD91C2234}" type="sibTrans" cxnId="{70776CB4-9213-471F-A8D8-372B3E3390CB}">
      <dgm:prSet/>
      <dgm:spPr/>
      <dgm:t>
        <a:bodyPr/>
        <a:lstStyle/>
        <a:p>
          <a:endParaRPr lang="it-IT"/>
        </a:p>
      </dgm:t>
    </dgm:pt>
    <dgm:pt modelId="{EB7EC312-6039-4855-B690-CD883FD4D39A}">
      <dgm:prSet custT="1"/>
      <dgm:spPr/>
      <dgm:t>
        <a:bodyPr/>
        <a:lstStyle/>
        <a:p>
          <a:pPr algn="just" rtl="0"/>
          <a:r>
            <a:rPr lang="it-IT" sz="1100" b="1" dirty="0" smtClean="0">
              <a:latin typeface="+mn-lt"/>
            </a:rPr>
            <a:t>In questa direzione, l’obiettivo della politica energetica europea è quello di abbassare le emissioni di CO2 e di operare una trasformazione del sistema che privilegi un'economia a basse emissioni di carbonio ed estremamente efficiente sotto il profilo energetico</a:t>
          </a:r>
          <a:r>
            <a:rPr lang="it-IT" sz="1100" b="1" baseline="30000" dirty="0" smtClean="0">
              <a:uFillTx/>
              <a:latin typeface="+mn-lt"/>
            </a:rPr>
            <a:t>.</a:t>
          </a:r>
          <a:r>
            <a:rPr lang="it-IT" sz="1100" b="1" dirty="0" smtClean="0">
              <a:uFillTx/>
              <a:latin typeface="+mn-lt"/>
            </a:rPr>
            <a:t>  </a:t>
          </a:r>
          <a:endParaRPr lang="it-IT" sz="1100" b="1" dirty="0">
            <a:effectLst/>
            <a:latin typeface="+mn-lt"/>
          </a:endParaRPr>
        </a:p>
      </dgm:t>
    </dgm:pt>
    <dgm:pt modelId="{8F2476B1-A466-413E-A84C-1C9EA6A6CA42}" type="parTrans" cxnId="{E30B0C09-8740-4232-9003-BDF6C3A82F53}">
      <dgm:prSet/>
      <dgm:spPr/>
      <dgm:t>
        <a:bodyPr/>
        <a:lstStyle/>
        <a:p>
          <a:endParaRPr lang="it-IT"/>
        </a:p>
      </dgm:t>
    </dgm:pt>
    <dgm:pt modelId="{9EB76FE2-4887-499C-8639-89EE3C37D991}" type="sibTrans" cxnId="{E30B0C09-8740-4232-9003-BDF6C3A82F53}">
      <dgm:prSet/>
      <dgm:spPr/>
      <dgm:t>
        <a:bodyPr/>
        <a:lstStyle/>
        <a:p>
          <a:endParaRPr lang="it-IT"/>
        </a:p>
      </dgm:t>
    </dgm:pt>
    <dgm:pt modelId="{546D771D-5927-47ED-B0D6-EF18F889D7C9}">
      <dgm:prSet custT="1"/>
      <dgm:spPr/>
      <dgm:t>
        <a:bodyPr/>
        <a:lstStyle/>
        <a:p>
          <a:pPr algn="just" rtl="0"/>
          <a:r>
            <a:rPr lang="it-IT" sz="1100" b="1" dirty="0" smtClean="0">
              <a:uFillTx/>
              <a:latin typeface="+mn-lt"/>
            </a:rPr>
            <a:t>I pilastri della politica energetica </a:t>
          </a:r>
          <a:r>
            <a:rPr lang="it-IT" sz="1100" b="1" dirty="0" smtClean="0">
              <a:latin typeface="+mn-lt"/>
            </a:rPr>
            <a:t>dell'U.E. sono la  sostenibilità, la sicurezza dell'approvvigionamento e la competitività, elementi che, dapprima, hanno orientato la definizione del Pacchetto Clima 2020 (i cui obiettivi sono la riduzione del 20% delle emissioni inquinanti, la riduzione del 20% dei consumi finali energia prodotta da fonti rinnovabili, e l’incremento del 20% dell’efficienza energetica).</a:t>
          </a:r>
          <a:endParaRPr lang="it-IT" sz="1100" b="1" dirty="0">
            <a:effectLst/>
            <a:latin typeface="+mn-lt"/>
          </a:endParaRPr>
        </a:p>
      </dgm:t>
    </dgm:pt>
    <dgm:pt modelId="{2ABA20C2-C1F3-450F-AD15-17B5DBDB5701}" type="parTrans" cxnId="{3B31C33F-AC60-4246-876B-B5235511239E}">
      <dgm:prSet/>
      <dgm:spPr/>
      <dgm:t>
        <a:bodyPr/>
        <a:lstStyle/>
        <a:p>
          <a:endParaRPr lang="it-IT"/>
        </a:p>
      </dgm:t>
    </dgm:pt>
    <dgm:pt modelId="{FBB41CAE-C25E-4BD1-A0DA-1DAA3F7807D1}" type="sibTrans" cxnId="{3B31C33F-AC60-4246-876B-B5235511239E}">
      <dgm:prSet/>
      <dgm:spPr/>
      <dgm:t>
        <a:bodyPr/>
        <a:lstStyle/>
        <a:p>
          <a:endParaRPr lang="it-IT"/>
        </a:p>
      </dgm:t>
    </dgm:pt>
    <dgm:pt modelId="{EF2A3DF3-EFB6-4EC4-A84C-CC1B48C98F35}" type="pres">
      <dgm:prSet presAssocID="{E94440B5-B491-4990-8637-244F230AE04F}" presName="linear" presStyleCnt="0">
        <dgm:presLayoutVars>
          <dgm:animLvl val="lvl"/>
          <dgm:resizeHandles val="exact"/>
        </dgm:presLayoutVars>
      </dgm:prSet>
      <dgm:spPr/>
      <dgm:t>
        <a:bodyPr/>
        <a:lstStyle/>
        <a:p>
          <a:endParaRPr lang="it-IT"/>
        </a:p>
      </dgm:t>
    </dgm:pt>
    <dgm:pt modelId="{9805214C-C233-4AAE-B814-6AD35E8BB61C}" type="pres">
      <dgm:prSet presAssocID="{4DCF4696-1E34-49F3-AF18-169E25E4655D}" presName="parentText" presStyleLbl="node1" presStyleIdx="0" presStyleCnt="4" custScaleX="100000" custScaleY="64637" custLinFactY="-9174" custLinFactNeighborX="525" custLinFactNeighborY="-100000">
        <dgm:presLayoutVars>
          <dgm:chMax val="0"/>
          <dgm:bulletEnabled val="1"/>
        </dgm:presLayoutVars>
      </dgm:prSet>
      <dgm:spPr/>
      <dgm:t>
        <a:bodyPr/>
        <a:lstStyle/>
        <a:p>
          <a:endParaRPr lang="it-IT"/>
        </a:p>
      </dgm:t>
    </dgm:pt>
    <dgm:pt modelId="{8085735A-84EA-453E-BC67-6C16467F03F4}" type="pres">
      <dgm:prSet presAssocID="{3203C5DE-E287-4161-A5D2-FD85EE93B33B}" presName="spacer" presStyleCnt="0"/>
      <dgm:spPr/>
      <dgm:t>
        <a:bodyPr/>
        <a:lstStyle/>
        <a:p>
          <a:endParaRPr lang="it-IT"/>
        </a:p>
      </dgm:t>
    </dgm:pt>
    <dgm:pt modelId="{F6F23AA0-DA68-4A08-B47A-3D19112A1993}" type="pres">
      <dgm:prSet presAssocID="{12539769-B089-4B1D-BE11-E82E88084E09}" presName="parentText" presStyleLbl="node1" presStyleIdx="1" presStyleCnt="4" custScaleX="100000" custScaleY="81396" custLinFactNeighborY="-30623">
        <dgm:presLayoutVars>
          <dgm:chMax val="0"/>
          <dgm:bulletEnabled val="1"/>
        </dgm:presLayoutVars>
      </dgm:prSet>
      <dgm:spPr/>
      <dgm:t>
        <a:bodyPr/>
        <a:lstStyle/>
        <a:p>
          <a:endParaRPr lang="it-IT"/>
        </a:p>
      </dgm:t>
    </dgm:pt>
    <dgm:pt modelId="{5B5BCE25-9FC9-4190-9B6F-A3EBDE830AE4}" type="pres">
      <dgm:prSet presAssocID="{0D9A5DFB-15A0-472F-9E09-689FD91C2234}" presName="spacer" presStyleCnt="0"/>
      <dgm:spPr/>
      <dgm:t>
        <a:bodyPr/>
        <a:lstStyle/>
        <a:p>
          <a:endParaRPr lang="it-IT"/>
        </a:p>
      </dgm:t>
    </dgm:pt>
    <dgm:pt modelId="{3711621F-63AC-4E08-B3C3-54E96E74B109}" type="pres">
      <dgm:prSet presAssocID="{EB7EC312-6039-4855-B690-CD883FD4D39A}" presName="parentText" presStyleLbl="node1" presStyleIdx="2" presStyleCnt="4" custScaleX="100000" custScaleY="54536" custLinFactNeighborY="-85502">
        <dgm:presLayoutVars>
          <dgm:chMax val="0"/>
          <dgm:bulletEnabled val="1"/>
        </dgm:presLayoutVars>
      </dgm:prSet>
      <dgm:spPr/>
      <dgm:t>
        <a:bodyPr/>
        <a:lstStyle/>
        <a:p>
          <a:endParaRPr lang="it-IT"/>
        </a:p>
      </dgm:t>
    </dgm:pt>
    <dgm:pt modelId="{8EC5775A-E9B1-4158-9A95-61D4424EBC4A}" type="pres">
      <dgm:prSet presAssocID="{9EB76FE2-4887-499C-8639-89EE3C37D991}" presName="spacer" presStyleCnt="0"/>
      <dgm:spPr/>
      <dgm:t>
        <a:bodyPr/>
        <a:lstStyle/>
        <a:p>
          <a:endParaRPr lang="it-IT"/>
        </a:p>
      </dgm:t>
    </dgm:pt>
    <dgm:pt modelId="{471C6FC9-E40B-401A-BF61-EAE3F52FB28F}" type="pres">
      <dgm:prSet presAssocID="{546D771D-5927-47ED-B0D6-EF18F889D7C9}" presName="parentText" presStyleLbl="node1" presStyleIdx="3" presStyleCnt="4" custScaleY="114919" custLinFactNeighborY="-62538">
        <dgm:presLayoutVars>
          <dgm:chMax val="0"/>
          <dgm:bulletEnabled val="1"/>
        </dgm:presLayoutVars>
      </dgm:prSet>
      <dgm:spPr/>
      <dgm:t>
        <a:bodyPr/>
        <a:lstStyle/>
        <a:p>
          <a:endParaRPr lang="it-IT"/>
        </a:p>
      </dgm:t>
    </dgm:pt>
  </dgm:ptLst>
  <dgm:cxnLst>
    <dgm:cxn modelId="{E30B0C09-8740-4232-9003-BDF6C3A82F53}" srcId="{E94440B5-B491-4990-8637-244F230AE04F}" destId="{EB7EC312-6039-4855-B690-CD883FD4D39A}" srcOrd="2" destOrd="0" parTransId="{8F2476B1-A466-413E-A84C-1C9EA6A6CA42}" sibTransId="{9EB76FE2-4887-499C-8639-89EE3C37D991}"/>
    <dgm:cxn modelId="{C96FE8CB-1C69-4EB4-B729-CA30536FE665}" type="presOf" srcId="{E94440B5-B491-4990-8637-244F230AE04F}" destId="{EF2A3DF3-EFB6-4EC4-A84C-CC1B48C98F35}" srcOrd="0" destOrd="0" presId="urn:microsoft.com/office/officeart/2005/8/layout/vList2"/>
    <dgm:cxn modelId="{4E4E6702-7221-4BEB-9D46-C6E3317E2A93}" type="presOf" srcId="{EB7EC312-6039-4855-B690-CD883FD4D39A}" destId="{3711621F-63AC-4E08-B3C3-54E96E74B109}" srcOrd="0" destOrd="0" presId="urn:microsoft.com/office/officeart/2005/8/layout/vList2"/>
    <dgm:cxn modelId="{70776CB4-9213-471F-A8D8-372B3E3390CB}" srcId="{E94440B5-B491-4990-8637-244F230AE04F}" destId="{12539769-B089-4B1D-BE11-E82E88084E09}" srcOrd="1" destOrd="0" parTransId="{F2BBEE18-1EFC-4456-924C-DC6B38805FEF}" sibTransId="{0D9A5DFB-15A0-472F-9E09-689FD91C2234}"/>
    <dgm:cxn modelId="{3B31C33F-AC60-4246-876B-B5235511239E}" srcId="{E94440B5-B491-4990-8637-244F230AE04F}" destId="{546D771D-5927-47ED-B0D6-EF18F889D7C9}" srcOrd="3" destOrd="0" parTransId="{2ABA20C2-C1F3-450F-AD15-17B5DBDB5701}" sibTransId="{FBB41CAE-C25E-4BD1-A0DA-1DAA3F7807D1}"/>
    <dgm:cxn modelId="{0B57C862-2D11-4D09-B786-282C3DD06D31}" srcId="{E94440B5-B491-4990-8637-244F230AE04F}" destId="{4DCF4696-1E34-49F3-AF18-169E25E4655D}" srcOrd="0" destOrd="0" parTransId="{8EB4DA72-6014-460A-87B1-B31144D85A0A}" sibTransId="{3203C5DE-E287-4161-A5D2-FD85EE93B33B}"/>
    <dgm:cxn modelId="{43F5F68B-EB58-461F-A195-AEC9690CB904}" type="presOf" srcId="{4DCF4696-1E34-49F3-AF18-169E25E4655D}" destId="{9805214C-C233-4AAE-B814-6AD35E8BB61C}" srcOrd="0" destOrd="0" presId="urn:microsoft.com/office/officeart/2005/8/layout/vList2"/>
    <dgm:cxn modelId="{EE4185A1-3C38-4DC2-907D-9580800E39EB}" type="presOf" srcId="{12539769-B089-4B1D-BE11-E82E88084E09}" destId="{F6F23AA0-DA68-4A08-B47A-3D19112A1993}" srcOrd="0" destOrd="0" presId="urn:microsoft.com/office/officeart/2005/8/layout/vList2"/>
    <dgm:cxn modelId="{22BA743A-0277-471A-B491-84E7DE7421F9}" type="presOf" srcId="{546D771D-5927-47ED-B0D6-EF18F889D7C9}" destId="{471C6FC9-E40B-401A-BF61-EAE3F52FB28F}" srcOrd="0" destOrd="0" presId="urn:microsoft.com/office/officeart/2005/8/layout/vList2"/>
    <dgm:cxn modelId="{9B1CAD64-C9C1-4209-BCAB-4359956DB38C}" type="presParOf" srcId="{EF2A3DF3-EFB6-4EC4-A84C-CC1B48C98F35}" destId="{9805214C-C233-4AAE-B814-6AD35E8BB61C}" srcOrd="0" destOrd="0" presId="urn:microsoft.com/office/officeart/2005/8/layout/vList2"/>
    <dgm:cxn modelId="{28C9D60F-BC64-4055-B258-6D46F69C67F7}" type="presParOf" srcId="{EF2A3DF3-EFB6-4EC4-A84C-CC1B48C98F35}" destId="{8085735A-84EA-453E-BC67-6C16467F03F4}" srcOrd="1" destOrd="0" presId="urn:microsoft.com/office/officeart/2005/8/layout/vList2"/>
    <dgm:cxn modelId="{E82FF32E-ACF3-4BE8-B225-610F45A0FB58}" type="presParOf" srcId="{EF2A3DF3-EFB6-4EC4-A84C-CC1B48C98F35}" destId="{F6F23AA0-DA68-4A08-B47A-3D19112A1993}" srcOrd="2" destOrd="0" presId="urn:microsoft.com/office/officeart/2005/8/layout/vList2"/>
    <dgm:cxn modelId="{38E1922D-4066-4DD0-8E1F-BDC0B517E5BD}" type="presParOf" srcId="{EF2A3DF3-EFB6-4EC4-A84C-CC1B48C98F35}" destId="{5B5BCE25-9FC9-4190-9B6F-A3EBDE830AE4}" srcOrd="3" destOrd="0" presId="urn:microsoft.com/office/officeart/2005/8/layout/vList2"/>
    <dgm:cxn modelId="{B176246F-B1C6-4F8F-8869-93C019B89970}" type="presParOf" srcId="{EF2A3DF3-EFB6-4EC4-A84C-CC1B48C98F35}" destId="{3711621F-63AC-4E08-B3C3-54E96E74B109}" srcOrd="4" destOrd="0" presId="urn:microsoft.com/office/officeart/2005/8/layout/vList2"/>
    <dgm:cxn modelId="{62B704EB-07CE-408D-88AB-F8B703804A66}" type="presParOf" srcId="{EF2A3DF3-EFB6-4EC4-A84C-CC1B48C98F35}" destId="{8EC5775A-E9B1-4158-9A95-61D4424EBC4A}" srcOrd="5" destOrd="0" presId="urn:microsoft.com/office/officeart/2005/8/layout/vList2"/>
    <dgm:cxn modelId="{8A75AE84-BDAE-463E-A8DC-49D46249428C}" type="presParOf" srcId="{EF2A3DF3-EFB6-4EC4-A84C-CC1B48C98F35}" destId="{471C6FC9-E40B-401A-BF61-EAE3F52FB28F}" srcOrd="6"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dgm:spPr/>
      <dgm:t>
        <a:bodyPr/>
        <a:lstStyle/>
        <a:p>
          <a:endParaRPr lang="it-IT"/>
        </a:p>
      </dgm:t>
    </dgm:pt>
    <dgm:pt modelId="{72D59079-C521-4525-81A4-701D931A8233}">
      <dgm:prSet/>
      <dgm:spPr/>
      <dgm:t>
        <a:bodyPr/>
        <a:lstStyle/>
        <a:p>
          <a:pPr rtl="0"/>
          <a:r>
            <a:rPr lang="it-IT" b="1" dirty="0" smtClean="0"/>
            <a:t>Le tendenze internazionali e nazionali</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39E53AB2-EBDB-42A1-B630-48DC5C869D9B}" type="presOf" srcId="{72D59079-C521-4525-81A4-701D931A8233}" destId="{9CE9EFE3-4E69-404A-8A99-59388A9E3922}" srcOrd="0" destOrd="0" presId="urn:microsoft.com/office/officeart/2005/8/layout/chevronAccent+Icon"/>
    <dgm:cxn modelId="{DACBAAA9-5CBF-4833-97AE-3D72FD8039FD}" type="presOf" srcId="{9AF403A6-2C5C-4F1B-B787-47496D3DBC71}" destId="{639FA514-32E4-4E31-8688-3C040A3F30E9}" srcOrd="0" destOrd="0" presId="urn:microsoft.com/office/officeart/2005/8/layout/chevronAccent+Icon"/>
    <dgm:cxn modelId="{F53B3C78-80C2-4FB3-8473-60FB8DB3DD8B}" type="presParOf" srcId="{639FA514-32E4-4E31-8688-3C040A3F30E9}" destId="{F100BA9B-D4E3-421F-B5D8-42E4C50A115C}" srcOrd="0" destOrd="0" presId="urn:microsoft.com/office/officeart/2005/8/layout/chevronAccent+Icon"/>
    <dgm:cxn modelId="{419CCBAE-A923-40B3-BBCE-8F22048D0D76}" type="presParOf" srcId="{F100BA9B-D4E3-421F-B5D8-42E4C50A115C}" destId="{51AD98A5-0898-43D1-8FB1-9AA58104A73C}" srcOrd="0" destOrd="0" presId="urn:microsoft.com/office/officeart/2005/8/layout/chevronAccent+Icon"/>
    <dgm:cxn modelId="{CCE5E5DA-CE1C-4391-87F4-A31BE07565B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A7880B61-467C-4F29-8035-08C7E49CEE78}"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it-IT"/>
        </a:p>
      </dgm:t>
    </dgm:pt>
    <dgm:pt modelId="{D2FDA5DF-C50B-4583-9F32-D053F24483F4}">
      <dgm:prSet custT="1"/>
      <dgm:spPr/>
      <dgm:t>
        <a:bodyPr/>
        <a:lstStyle/>
        <a:p>
          <a:pPr algn="just" rtl="0"/>
          <a:r>
            <a:rPr lang="it-IT" sz="1400" b="1" dirty="0" smtClean="0">
              <a:solidFill>
                <a:schemeClr val="bg2">
                  <a:lumMod val="25000"/>
                </a:schemeClr>
              </a:solidFill>
            </a:rPr>
            <a:t>Indagine di Confartigianato rileva che, seppur nel mezzo di una crisi recessiva particolarmente violenta, vi sono alcuni settori – e tra questi le filiere legate alle energie rinnovabili e all’efficienza energetica – che registrano nel periodo una variazione relativa positiva, affermandosi quindi come i settori trainanti della crescita</a:t>
          </a:r>
          <a:endParaRPr lang="it-IT" sz="1400" b="1" dirty="0">
            <a:solidFill>
              <a:schemeClr val="bg2">
                <a:lumMod val="25000"/>
              </a:schemeClr>
            </a:solidFill>
          </a:endParaRPr>
        </a:p>
      </dgm:t>
    </dgm:pt>
    <dgm:pt modelId="{C2715A2E-BBCB-4088-9B6C-A77FA0C0EE0D}" type="parTrans" cxnId="{E34D59D5-573B-4EDA-B51C-D842A72492AE}">
      <dgm:prSet/>
      <dgm:spPr/>
      <dgm:t>
        <a:bodyPr/>
        <a:lstStyle/>
        <a:p>
          <a:endParaRPr lang="it-IT"/>
        </a:p>
      </dgm:t>
    </dgm:pt>
    <dgm:pt modelId="{8A26DC74-A829-479D-9669-A96BFCB1BE40}" type="sibTrans" cxnId="{E34D59D5-573B-4EDA-B51C-D842A72492AE}">
      <dgm:prSet/>
      <dgm:spPr/>
      <dgm:t>
        <a:bodyPr/>
        <a:lstStyle/>
        <a:p>
          <a:endParaRPr lang="it-IT"/>
        </a:p>
      </dgm:t>
    </dgm:pt>
    <dgm:pt modelId="{51D83B4E-8694-4A91-83B8-30DC12F7D93C}">
      <dgm:prSet custT="1"/>
      <dgm:spPr/>
      <dgm:t>
        <a:bodyPr/>
        <a:lstStyle/>
        <a:p>
          <a:pPr algn="just" rtl="0"/>
          <a:r>
            <a:rPr lang="it-IT" sz="1400" b="1" dirty="0" smtClean="0">
              <a:solidFill>
                <a:schemeClr val="bg2">
                  <a:lumMod val="25000"/>
                </a:schemeClr>
              </a:solidFill>
            </a:rPr>
            <a:t>Altro ambito particolarmente rilevante è quello legato all’efficienza energetica: settore particolarmente ampio in quanto abbraccia una pluralità di applicazioni che vanno dai sistemi produttivi, ai trasporti, all’edilizia, etc.</a:t>
          </a:r>
          <a:endParaRPr lang="it-IT" sz="1400" b="1" dirty="0">
            <a:solidFill>
              <a:schemeClr val="bg2">
                <a:lumMod val="25000"/>
              </a:schemeClr>
            </a:solidFill>
          </a:endParaRPr>
        </a:p>
      </dgm:t>
    </dgm:pt>
    <dgm:pt modelId="{FF6F04EA-2109-4FBA-A1DF-3429CB8ADD48}" type="parTrans" cxnId="{AE99DFCA-3B10-4E91-8744-50B5D82668FC}">
      <dgm:prSet/>
      <dgm:spPr/>
      <dgm:t>
        <a:bodyPr/>
        <a:lstStyle/>
        <a:p>
          <a:endParaRPr lang="it-IT"/>
        </a:p>
      </dgm:t>
    </dgm:pt>
    <dgm:pt modelId="{63EB6058-5150-48ED-9C69-E6A4D122A777}" type="sibTrans" cxnId="{AE99DFCA-3B10-4E91-8744-50B5D82668FC}">
      <dgm:prSet/>
      <dgm:spPr/>
      <dgm:t>
        <a:bodyPr/>
        <a:lstStyle/>
        <a:p>
          <a:endParaRPr lang="it-IT"/>
        </a:p>
      </dgm:t>
    </dgm:pt>
    <dgm:pt modelId="{1E9E1073-58B9-4FE8-8DFD-E324715D9975}">
      <dgm:prSet custT="1"/>
      <dgm:spPr/>
      <dgm:t>
        <a:bodyPr/>
        <a:lstStyle/>
        <a:p>
          <a:r>
            <a:rPr lang="it-IT" sz="1400" b="1" dirty="0" smtClean="0">
              <a:solidFill>
                <a:schemeClr val="bg2">
                  <a:lumMod val="25000"/>
                </a:schemeClr>
              </a:solidFill>
            </a:rPr>
            <a:t>Oltre alla componente più direttamente riconducibile agli aspetti legati al risparmio energetico nella fase di produzione, un ambito particolarmente rilevante riguarda l’aspetto relativo al minor consumo durante il ciclo di vita dei prodotti</a:t>
          </a:r>
          <a:endParaRPr lang="it-IT" sz="1400" b="1" dirty="0">
            <a:solidFill>
              <a:schemeClr val="bg2">
                <a:lumMod val="25000"/>
              </a:schemeClr>
            </a:solidFill>
          </a:endParaRPr>
        </a:p>
      </dgm:t>
    </dgm:pt>
    <dgm:pt modelId="{3F6C01CD-AEDA-4D9E-94D0-615021244DE5}" type="parTrans" cxnId="{A0182E7B-D401-46FD-9E0B-F84BCBB35E88}">
      <dgm:prSet/>
      <dgm:spPr/>
      <dgm:t>
        <a:bodyPr/>
        <a:lstStyle/>
        <a:p>
          <a:endParaRPr lang="it-IT"/>
        </a:p>
      </dgm:t>
    </dgm:pt>
    <dgm:pt modelId="{790BC323-05AA-4A21-A245-52C0CE83428D}" type="sibTrans" cxnId="{A0182E7B-D401-46FD-9E0B-F84BCBB35E88}">
      <dgm:prSet/>
      <dgm:spPr/>
      <dgm:t>
        <a:bodyPr/>
        <a:lstStyle/>
        <a:p>
          <a:endParaRPr lang="it-IT"/>
        </a:p>
      </dgm:t>
    </dgm:pt>
    <dgm:pt modelId="{3D7C1268-64E1-4A6D-B251-B9FBF785313B}" type="pres">
      <dgm:prSet presAssocID="{A7880B61-467C-4F29-8035-08C7E49CEE78}" presName="vert0" presStyleCnt="0">
        <dgm:presLayoutVars>
          <dgm:dir/>
          <dgm:animOne val="branch"/>
          <dgm:animLvl val="lvl"/>
        </dgm:presLayoutVars>
      </dgm:prSet>
      <dgm:spPr/>
      <dgm:t>
        <a:bodyPr/>
        <a:lstStyle/>
        <a:p>
          <a:endParaRPr lang="it-IT"/>
        </a:p>
      </dgm:t>
    </dgm:pt>
    <dgm:pt modelId="{7F212715-5FD5-44BA-83DA-378965283B04}" type="pres">
      <dgm:prSet presAssocID="{D2FDA5DF-C50B-4583-9F32-D053F24483F4}" presName="thickLine" presStyleLbl="alignNode1" presStyleIdx="0" presStyleCnt="3"/>
      <dgm:spPr/>
    </dgm:pt>
    <dgm:pt modelId="{6A38B9ED-2EFE-47C6-91DD-6E77D245219C}" type="pres">
      <dgm:prSet presAssocID="{D2FDA5DF-C50B-4583-9F32-D053F24483F4}" presName="horz1" presStyleCnt="0"/>
      <dgm:spPr/>
    </dgm:pt>
    <dgm:pt modelId="{C7247FC0-CB4D-4A17-B6A3-F9A1F835F548}" type="pres">
      <dgm:prSet presAssocID="{D2FDA5DF-C50B-4583-9F32-D053F24483F4}" presName="tx1" presStyleLbl="revTx" presStyleIdx="0" presStyleCnt="3" custScaleY="31537"/>
      <dgm:spPr/>
      <dgm:t>
        <a:bodyPr/>
        <a:lstStyle/>
        <a:p>
          <a:endParaRPr lang="it-IT"/>
        </a:p>
      </dgm:t>
    </dgm:pt>
    <dgm:pt modelId="{FEC8696C-012F-4DA9-BA2D-832B19BEFC2C}" type="pres">
      <dgm:prSet presAssocID="{D2FDA5DF-C50B-4583-9F32-D053F24483F4}" presName="vert1" presStyleCnt="0"/>
      <dgm:spPr/>
    </dgm:pt>
    <dgm:pt modelId="{261AD39B-A269-4693-9639-F6C2D0CCDDB8}" type="pres">
      <dgm:prSet presAssocID="{51D83B4E-8694-4A91-83B8-30DC12F7D93C}" presName="thickLine" presStyleLbl="alignNode1" presStyleIdx="1" presStyleCnt="3"/>
      <dgm:spPr/>
    </dgm:pt>
    <dgm:pt modelId="{2E4B8576-F072-4267-A155-4737EAC2956D}" type="pres">
      <dgm:prSet presAssocID="{51D83B4E-8694-4A91-83B8-30DC12F7D93C}" presName="horz1" presStyleCnt="0"/>
      <dgm:spPr/>
    </dgm:pt>
    <dgm:pt modelId="{C4357C59-8D94-43FA-BC85-563258B74C9A}" type="pres">
      <dgm:prSet presAssocID="{51D83B4E-8694-4A91-83B8-30DC12F7D93C}" presName="tx1" presStyleLbl="revTx" presStyleIdx="1" presStyleCnt="3" custScaleY="23079"/>
      <dgm:spPr/>
      <dgm:t>
        <a:bodyPr/>
        <a:lstStyle/>
        <a:p>
          <a:endParaRPr lang="it-IT"/>
        </a:p>
      </dgm:t>
    </dgm:pt>
    <dgm:pt modelId="{20B33365-05AD-4B35-9E56-1B4A8B244685}" type="pres">
      <dgm:prSet presAssocID="{51D83B4E-8694-4A91-83B8-30DC12F7D93C}" presName="vert1" presStyleCnt="0"/>
      <dgm:spPr/>
    </dgm:pt>
    <dgm:pt modelId="{ECD5D2CF-379B-4CCA-9255-286F60F8987E}" type="pres">
      <dgm:prSet presAssocID="{1E9E1073-58B9-4FE8-8DFD-E324715D9975}" presName="thickLine" presStyleLbl="alignNode1" presStyleIdx="2" presStyleCnt="3"/>
      <dgm:spPr/>
    </dgm:pt>
    <dgm:pt modelId="{214F6B2C-459E-4397-A6E1-A2F1CD88688C}" type="pres">
      <dgm:prSet presAssocID="{1E9E1073-58B9-4FE8-8DFD-E324715D9975}" presName="horz1" presStyleCnt="0"/>
      <dgm:spPr/>
    </dgm:pt>
    <dgm:pt modelId="{BEEA82B4-7257-4792-B8E4-6F72215ADAAA}" type="pres">
      <dgm:prSet presAssocID="{1E9E1073-58B9-4FE8-8DFD-E324715D9975}" presName="tx1" presStyleLbl="revTx" presStyleIdx="2" presStyleCnt="3" custScaleY="36099"/>
      <dgm:spPr/>
      <dgm:t>
        <a:bodyPr/>
        <a:lstStyle/>
        <a:p>
          <a:endParaRPr lang="it-IT"/>
        </a:p>
      </dgm:t>
    </dgm:pt>
    <dgm:pt modelId="{59104E4C-C3E4-4484-9376-82F211861B5C}" type="pres">
      <dgm:prSet presAssocID="{1E9E1073-58B9-4FE8-8DFD-E324715D9975}" presName="vert1" presStyleCnt="0"/>
      <dgm:spPr/>
    </dgm:pt>
  </dgm:ptLst>
  <dgm:cxnLst>
    <dgm:cxn modelId="{FBC0B5E6-D032-4A34-A24D-5E507D4B679E}" type="presOf" srcId="{51D83B4E-8694-4A91-83B8-30DC12F7D93C}" destId="{C4357C59-8D94-43FA-BC85-563258B74C9A}" srcOrd="0" destOrd="0" presId="urn:microsoft.com/office/officeart/2008/layout/LinedList"/>
    <dgm:cxn modelId="{A0182E7B-D401-46FD-9E0B-F84BCBB35E88}" srcId="{A7880B61-467C-4F29-8035-08C7E49CEE78}" destId="{1E9E1073-58B9-4FE8-8DFD-E324715D9975}" srcOrd="2" destOrd="0" parTransId="{3F6C01CD-AEDA-4D9E-94D0-615021244DE5}" sibTransId="{790BC323-05AA-4A21-A245-52C0CE83428D}"/>
    <dgm:cxn modelId="{AE99DFCA-3B10-4E91-8744-50B5D82668FC}" srcId="{A7880B61-467C-4F29-8035-08C7E49CEE78}" destId="{51D83B4E-8694-4A91-83B8-30DC12F7D93C}" srcOrd="1" destOrd="0" parTransId="{FF6F04EA-2109-4FBA-A1DF-3429CB8ADD48}" sibTransId="{63EB6058-5150-48ED-9C69-E6A4D122A777}"/>
    <dgm:cxn modelId="{C2B9FF80-DFA5-46C0-A227-0346BADAAB24}" type="presOf" srcId="{A7880B61-467C-4F29-8035-08C7E49CEE78}" destId="{3D7C1268-64E1-4A6D-B251-B9FBF785313B}" srcOrd="0" destOrd="0" presId="urn:microsoft.com/office/officeart/2008/layout/LinedList"/>
    <dgm:cxn modelId="{FFB8C166-6740-45FB-9209-0A13E96F61E4}" type="presOf" srcId="{1E9E1073-58B9-4FE8-8DFD-E324715D9975}" destId="{BEEA82B4-7257-4792-B8E4-6F72215ADAAA}" srcOrd="0" destOrd="0" presId="urn:microsoft.com/office/officeart/2008/layout/LinedList"/>
    <dgm:cxn modelId="{6366F141-7C67-4546-A817-86571FB65C33}" type="presOf" srcId="{D2FDA5DF-C50B-4583-9F32-D053F24483F4}" destId="{C7247FC0-CB4D-4A17-B6A3-F9A1F835F548}" srcOrd="0" destOrd="0" presId="urn:microsoft.com/office/officeart/2008/layout/LinedList"/>
    <dgm:cxn modelId="{E34D59D5-573B-4EDA-B51C-D842A72492AE}" srcId="{A7880B61-467C-4F29-8035-08C7E49CEE78}" destId="{D2FDA5DF-C50B-4583-9F32-D053F24483F4}" srcOrd="0" destOrd="0" parTransId="{C2715A2E-BBCB-4088-9B6C-A77FA0C0EE0D}" sibTransId="{8A26DC74-A829-479D-9669-A96BFCB1BE40}"/>
    <dgm:cxn modelId="{5BDF4B51-C4D9-49C5-B8EB-D9798A63F2ED}" type="presParOf" srcId="{3D7C1268-64E1-4A6D-B251-B9FBF785313B}" destId="{7F212715-5FD5-44BA-83DA-378965283B04}" srcOrd="0" destOrd="0" presId="urn:microsoft.com/office/officeart/2008/layout/LinedList"/>
    <dgm:cxn modelId="{CBCF06D8-C7A7-47F6-9E2B-40819FD7AF0E}" type="presParOf" srcId="{3D7C1268-64E1-4A6D-B251-B9FBF785313B}" destId="{6A38B9ED-2EFE-47C6-91DD-6E77D245219C}" srcOrd="1" destOrd="0" presId="urn:microsoft.com/office/officeart/2008/layout/LinedList"/>
    <dgm:cxn modelId="{353C7D18-10C0-4968-8C05-9A75924304CB}" type="presParOf" srcId="{6A38B9ED-2EFE-47C6-91DD-6E77D245219C}" destId="{C7247FC0-CB4D-4A17-B6A3-F9A1F835F548}" srcOrd="0" destOrd="0" presId="urn:microsoft.com/office/officeart/2008/layout/LinedList"/>
    <dgm:cxn modelId="{1792772D-4E84-4DBE-A5C8-4CFB833F2AF7}" type="presParOf" srcId="{6A38B9ED-2EFE-47C6-91DD-6E77D245219C}" destId="{FEC8696C-012F-4DA9-BA2D-832B19BEFC2C}" srcOrd="1" destOrd="0" presId="urn:microsoft.com/office/officeart/2008/layout/LinedList"/>
    <dgm:cxn modelId="{229D26B2-C625-423C-985C-98ABF0E62D9F}" type="presParOf" srcId="{3D7C1268-64E1-4A6D-B251-B9FBF785313B}" destId="{261AD39B-A269-4693-9639-F6C2D0CCDDB8}" srcOrd="2" destOrd="0" presId="urn:microsoft.com/office/officeart/2008/layout/LinedList"/>
    <dgm:cxn modelId="{7FB559CC-747F-42F9-A1B1-A9F5353DD352}" type="presParOf" srcId="{3D7C1268-64E1-4A6D-B251-B9FBF785313B}" destId="{2E4B8576-F072-4267-A155-4737EAC2956D}" srcOrd="3" destOrd="0" presId="urn:microsoft.com/office/officeart/2008/layout/LinedList"/>
    <dgm:cxn modelId="{E50C9995-08C6-4DCA-ADDA-0F29B85B2FF3}" type="presParOf" srcId="{2E4B8576-F072-4267-A155-4737EAC2956D}" destId="{C4357C59-8D94-43FA-BC85-563258B74C9A}" srcOrd="0" destOrd="0" presId="urn:microsoft.com/office/officeart/2008/layout/LinedList"/>
    <dgm:cxn modelId="{98695C85-E97F-4600-8339-366F7F2DF09D}" type="presParOf" srcId="{2E4B8576-F072-4267-A155-4737EAC2956D}" destId="{20B33365-05AD-4B35-9E56-1B4A8B244685}" srcOrd="1" destOrd="0" presId="urn:microsoft.com/office/officeart/2008/layout/LinedList"/>
    <dgm:cxn modelId="{A5270C99-613A-473C-B68B-E0BC61C12AA3}" type="presParOf" srcId="{3D7C1268-64E1-4A6D-B251-B9FBF785313B}" destId="{ECD5D2CF-379B-4CCA-9255-286F60F8987E}" srcOrd="4" destOrd="0" presId="urn:microsoft.com/office/officeart/2008/layout/LinedList"/>
    <dgm:cxn modelId="{CDADC417-A535-43F1-9709-5DD507E5AD9A}" type="presParOf" srcId="{3D7C1268-64E1-4A6D-B251-B9FBF785313B}" destId="{214F6B2C-459E-4397-A6E1-A2F1CD88688C}" srcOrd="5" destOrd="0" presId="urn:microsoft.com/office/officeart/2008/layout/LinedList"/>
    <dgm:cxn modelId="{A492B109-C202-4706-8B4D-651A17759A92}" type="presParOf" srcId="{214F6B2C-459E-4397-A6E1-A2F1CD88688C}" destId="{BEEA82B4-7257-4792-B8E4-6F72215ADAAA}" srcOrd="0" destOrd="0" presId="urn:microsoft.com/office/officeart/2008/layout/LinedList"/>
    <dgm:cxn modelId="{98C43B2E-DF34-4F52-8E10-49CA12864876}" type="presParOf" srcId="{214F6B2C-459E-4397-A6E1-A2F1CD88688C}" destId="{59104E4C-C3E4-4484-9376-82F211861B5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7DD2A4D5-60FF-4287-801A-22608B78C6FA}" type="presOf" srcId="{188FD03C-7D6A-4D29-8FCB-9C1383057E36}" destId="{C08F212E-D010-4B1B-884C-243E8BB88BD2}" srcOrd="0" destOrd="0" presId="urn:microsoft.com/office/officeart/2005/8/layout/list1"/>
    <dgm:cxn modelId="{6505CD6D-9071-4F2D-B004-7635D204C937}"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78AF814D-7A22-4D03-8D5D-446A1C938691}" type="presOf" srcId="{E4C7AF03-E2BD-4E48-8DAB-C1261D3D7EA9}" destId="{03DB856F-DE91-4CA0-AD05-B356DE21BFDC}" srcOrd="0" destOrd="0" presId="urn:microsoft.com/office/officeart/2005/8/layout/list1"/>
    <dgm:cxn modelId="{E65FD1F4-5B02-4BD3-A250-9671052988C8}" type="presParOf" srcId="{C08F212E-D010-4B1B-884C-243E8BB88BD2}" destId="{A042C0D5-6636-40E8-83EA-703099528EDB}" srcOrd="0" destOrd="0" presId="urn:microsoft.com/office/officeart/2005/8/layout/list1"/>
    <dgm:cxn modelId="{E65473B9-ECEB-4578-96AB-95E88AA8F6DD}" type="presParOf" srcId="{A042C0D5-6636-40E8-83EA-703099528EDB}" destId="{03DB856F-DE91-4CA0-AD05-B356DE21BFDC}" srcOrd="0" destOrd="0" presId="urn:microsoft.com/office/officeart/2005/8/layout/list1"/>
    <dgm:cxn modelId="{6A396FE7-D187-4FCC-ABFB-A77ABB9EC48A}" type="presParOf" srcId="{A042C0D5-6636-40E8-83EA-703099528EDB}" destId="{21D380AD-5D38-4835-9FB5-615E5454C686}" srcOrd="1" destOrd="0" presId="urn:microsoft.com/office/officeart/2005/8/layout/list1"/>
    <dgm:cxn modelId="{177E2A59-4719-4B45-88F8-5E575AF69B4A}" type="presParOf" srcId="{C08F212E-D010-4B1B-884C-243E8BB88BD2}" destId="{E77B3B8A-36B6-4AF7-9D59-DF889FA8E07C}" srcOrd="1" destOrd="0" presId="urn:microsoft.com/office/officeart/2005/8/layout/list1"/>
    <dgm:cxn modelId="{729BBFDB-801A-4067-91E2-BB93D4AB779B}"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dgm:spPr/>
      <dgm:t>
        <a:bodyPr/>
        <a:lstStyle/>
        <a:p>
          <a:endParaRPr lang="it-IT"/>
        </a:p>
      </dgm:t>
    </dgm:pt>
    <dgm:pt modelId="{72D59079-C521-4525-81A4-701D931A8233}">
      <dgm:prSet/>
      <dgm:spPr/>
      <dgm:t>
        <a:bodyPr/>
        <a:lstStyle/>
        <a:p>
          <a:pPr rtl="0"/>
          <a:r>
            <a:rPr lang="it-IT" b="1" dirty="0" smtClean="0"/>
            <a:t>Le tendenze internazionali e nazionali</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3A57A57-20F7-440E-89FF-45650535B354}" type="presOf" srcId="{9AF403A6-2C5C-4F1B-B787-47496D3DBC71}" destId="{639FA514-32E4-4E31-8688-3C040A3F30E9}" srcOrd="0" destOrd="0" presId="urn:microsoft.com/office/officeart/2005/8/layout/chevronAccent+Icon"/>
    <dgm:cxn modelId="{7C3F1B1A-48FC-4851-8D12-50EC0527C4CE}" type="presOf" srcId="{72D59079-C521-4525-81A4-701D931A8233}" destId="{9CE9EFE3-4E69-404A-8A99-59388A9E3922}" srcOrd="0" destOrd="0" presId="urn:microsoft.com/office/officeart/2005/8/layout/chevronAccent+Icon"/>
    <dgm:cxn modelId="{465C9EEF-1F89-4341-AECB-4ADE0D581534}" type="presParOf" srcId="{639FA514-32E4-4E31-8688-3C040A3F30E9}" destId="{F100BA9B-D4E3-421F-B5D8-42E4C50A115C}" srcOrd="0" destOrd="0" presId="urn:microsoft.com/office/officeart/2005/8/layout/chevronAccent+Icon"/>
    <dgm:cxn modelId="{62C20FB8-698F-4016-9356-7963253B51E1}" type="presParOf" srcId="{F100BA9B-D4E3-421F-B5D8-42E4C50A115C}" destId="{51AD98A5-0898-43D1-8FB1-9AA58104A73C}" srcOrd="0" destOrd="0" presId="urn:microsoft.com/office/officeart/2005/8/layout/chevronAccent+Icon"/>
    <dgm:cxn modelId="{06E99C29-0EC3-4464-A1BE-7F3E616917B1}"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B7872DCC-600E-4B3F-B8D2-FA080E74EED6}" type="doc">
      <dgm:prSet loTypeId="urn:microsoft.com/office/officeart/2005/8/layout/process4" loCatId="list" qsTypeId="urn:microsoft.com/office/officeart/2005/8/quickstyle/simple1" qsCatId="simple" csTypeId="urn:microsoft.com/office/officeart/2005/8/colors/accent6_1" csCatId="accent6" phldr="1"/>
      <dgm:spPr/>
      <dgm:t>
        <a:bodyPr/>
        <a:lstStyle/>
        <a:p>
          <a:endParaRPr lang="it-IT"/>
        </a:p>
      </dgm:t>
    </dgm:pt>
    <dgm:pt modelId="{9AF8BC74-246C-4697-9BA8-108A72A196B4}">
      <dgm:prSet custT="1"/>
      <dgm:spPr/>
      <dgm:t>
        <a:bodyPr/>
        <a:lstStyle/>
        <a:p>
          <a:pPr algn="just" rtl="0"/>
          <a:r>
            <a:rPr lang="it-IT" sz="1600" b="1" dirty="0" smtClean="0">
              <a:solidFill>
                <a:schemeClr val="bg2">
                  <a:lumMod val="25000"/>
                </a:schemeClr>
              </a:solidFill>
            </a:rPr>
            <a:t>La linea di tendenza è quindi quella di un sempre maggior orientamento verso forme di abitare a basso impatto ambientale e caratterizzate da consumi energetici ridotti, sia nella fase di costruzione quanto in quella di esercizio (riscaldamento/raffrescamento). Ciò richiede soluzioni costruttive ed impiantistiche rinnovate rispetto agli standard tradizionali e apre potenziali di mercato nuovo per un settore –quello edilizio- mediamente caratterizzato da una propensione all’innovazione non significativa</a:t>
          </a:r>
          <a:endParaRPr lang="it-IT" sz="1600" b="1" dirty="0">
            <a:solidFill>
              <a:schemeClr val="bg2">
                <a:lumMod val="25000"/>
              </a:schemeClr>
            </a:solidFill>
          </a:endParaRPr>
        </a:p>
      </dgm:t>
    </dgm:pt>
    <dgm:pt modelId="{6F172DAC-979E-4418-9E9D-0AAE90F0B5D3}" type="parTrans" cxnId="{28A26A29-9EAB-4644-8E37-F78E5460799C}">
      <dgm:prSet/>
      <dgm:spPr/>
      <dgm:t>
        <a:bodyPr/>
        <a:lstStyle/>
        <a:p>
          <a:endParaRPr lang="it-IT"/>
        </a:p>
      </dgm:t>
    </dgm:pt>
    <dgm:pt modelId="{6418ABF1-4106-46F7-B9B2-7961E9774628}" type="sibTrans" cxnId="{28A26A29-9EAB-4644-8E37-F78E5460799C}">
      <dgm:prSet/>
      <dgm:spPr/>
      <dgm:t>
        <a:bodyPr/>
        <a:lstStyle/>
        <a:p>
          <a:endParaRPr lang="it-IT"/>
        </a:p>
      </dgm:t>
    </dgm:pt>
    <dgm:pt modelId="{5775501D-0D91-48B2-9131-C8AB4FB70090}" type="pres">
      <dgm:prSet presAssocID="{B7872DCC-600E-4B3F-B8D2-FA080E74EED6}" presName="Name0" presStyleCnt="0">
        <dgm:presLayoutVars>
          <dgm:dir/>
          <dgm:animLvl val="lvl"/>
          <dgm:resizeHandles val="exact"/>
        </dgm:presLayoutVars>
      </dgm:prSet>
      <dgm:spPr/>
      <dgm:t>
        <a:bodyPr/>
        <a:lstStyle/>
        <a:p>
          <a:endParaRPr lang="it-IT"/>
        </a:p>
      </dgm:t>
    </dgm:pt>
    <dgm:pt modelId="{E5960D9F-9E5F-4E5D-B2AF-73EA5F3F063E}" type="pres">
      <dgm:prSet presAssocID="{9AF8BC74-246C-4697-9BA8-108A72A196B4}" presName="boxAndChildren" presStyleCnt="0"/>
      <dgm:spPr/>
    </dgm:pt>
    <dgm:pt modelId="{001857F7-3F38-486E-9C7F-C0DF74A06BED}" type="pres">
      <dgm:prSet presAssocID="{9AF8BC74-246C-4697-9BA8-108A72A196B4}" presName="parentTextBox" presStyleLbl="node1" presStyleIdx="0" presStyleCnt="1"/>
      <dgm:spPr/>
      <dgm:t>
        <a:bodyPr/>
        <a:lstStyle/>
        <a:p>
          <a:endParaRPr lang="it-IT"/>
        </a:p>
      </dgm:t>
    </dgm:pt>
  </dgm:ptLst>
  <dgm:cxnLst>
    <dgm:cxn modelId="{28A26A29-9EAB-4644-8E37-F78E5460799C}" srcId="{B7872DCC-600E-4B3F-B8D2-FA080E74EED6}" destId="{9AF8BC74-246C-4697-9BA8-108A72A196B4}" srcOrd="0" destOrd="0" parTransId="{6F172DAC-979E-4418-9E9D-0AAE90F0B5D3}" sibTransId="{6418ABF1-4106-46F7-B9B2-7961E9774628}"/>
    <dgm:cxn modelId="{A7FDD123-29CA-48C9-AA1B-00F867F9F67F}" type="presOf" srcId="{B7872DCC-600E-4B3F-B8D2-FA080E74EED6}" destId="{5775501D-0D91-48B2-9131-C8AB4FB70090}" srcOrd="0" destOrd="0" presId="urn:microsoft.com/office/officeart/2005/8/layout/process4"/>
    <dgm:cxn modelId="{640378E8-8405-4D2C-924D-BEC1479D7F6D}" type="presOf" srcId="{9AF8BC74-246C-4697-9BA8-108A72A196B4}" destId="{001857F7-3F38-486E-9C7F-C0DF74A06BED}" srcOrd="0" destOrd="0" presId="urn:microsoft.com/office/officeart/2005/8/layout/process4"/>
    <dgm:cxn modelId="{681F1865-9972-4F2C-91C9-7192438A8BA1}" type="presParOf" srcId="{5775501D-0D91-48B2-9131-C8AB4FB70090}" destId="{E5960D9F-9E5F-4E5D-B2AF-73EA5F3F063E}" srcOrd="0" destOrd="0" presId="urn:microsoft.com/office/officeart/2005/8/layout/process4"/>
    <dgm:cxn modelId="{639CDF15-6D6E-4CEA-B685-B262C4BE93E1}" type="presParOf" srcId="{E5960D9F-9E5F-4E5D-B2AF-73EA5F3F063E}" destId="{001857F7-3F38-486E-9C7F-C0DF74A06BED}" srcOrd="0" destOrd="0" presId="urn:microsoft.com/office/officeart/2005/8/layout/process4"/>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7F3256DC-A91D-4B31-9C5B-2CFEEC1CCED2}" type="doc">
      <dgm:prSet loTypeId="urn:microsoft.com/office/officeart/2005/8/layout/process4" loCatId="list" qsTypeId="urn:microsoft.com/office/officeart/2005/8/quickstyle/simple1" qsCatId="simple" csTypeId="urn:microsoft.com/office/officeart/2005/8/colors/accent6_1" csCatId="accent6" phldr="1"/>
      <dgm:spPr/>
      <dgm:t>
        <a:bodyPr/>
        <a:lstStyle/>
        <a:p>
          <a:endParaRPr lang="it-IT"/>
        </a:p>
      </dgm:t>
    </dgm:pt>
    <dgm:pt modelId="{C8F16073-C276-439A-ACD9-147EC6C284E2}">
      <dgm:prSet custT="1"/>
      <dgm:spPr/>
      <dgm:t>
        <a:bodyPr/>
        <a:lstStyle/>
        <a:p>
          <a:pPr algn="just" rtl="0"/>
          <a:r>
            <a:rPr lang="it-IT" sz="1600" b="1" dirty="0" smtClean="0">
              <a:solidFill>
                <a:schemeClr val="bg2">
                  <a:lumMod val="25000"/>
                </a:schemeClr>
              </a:solidFill>
            </a:rPr>
            <a:t>Le politiche energetiche definite a livello  comunitario e  recepite a livello nazionale  orientano il mercato verso soluzioni sempre più sostenibili rappresentando per le aziende un’opportunità di crescita.</a:t>
          </a:r>
          <a:endParaRPr lang="it-IT" sz="1600" b="1" dirty="0">
            <a:solidFill>
              <a:schemeClr val="bg2">
                <a:lumMod val="25000"/>
              </a:schemeClr>
            </a:solidFill>
          </a:endParaRPr>
        </a:p>
      </dgm:t>
    </dgm:pt>
    <dgm:pt modelId="{808784CB-1010-44F0-A98D-127A4EEF81B4}" type="parTrans" cxnId="{D1335D08-878C-4E55-A228-338786DEC1CF}">
      <dgm:prSet/>
      <dgm:spPr/>
      <dgm:t>
        <a:bodyPr/>
        <a:lstStyle/>
        <a:p>
          <a:endParaRPr lang="it-IT"/>
        </a:p>
      </dgm:t>
    </dgm:pt>
    <dgm:pt modelId="{4E479A68-DA8B-4C5E-AFBB-E3F4273CA5B5}" type="sibTrans" cxnId="{D1335D08-878C-4E55-A228-338786DEC1CF}">
      <dgm:prSet/>
      <dgm:spPr/>
      <dgm:t>
        <a:bodyPr/>
        <a:lstStyle/>
        <a:p>
          <a:endParaRPr lang="it-IT"/>
        </a:p>
      </dgm:t>
    </dgm:pt>
    <dgm:pt modelId="{D35B36D8-340D-40DD-A69C-C3EB52E09957}" type="pres">
      <dgm:prSet presAssocID="{7F3256DC-A91D-4B31-9C5B-2CFEEC1CCED2}" presName="Name0" presStyleCnt="0">
        <dgm:presLayoutVars>
          <dgm:dir/>
          <dgm:animLvl val="lvl"/>
          <dgm:resizeHandles val="exact"/>
        </dgm:presLayoutVars>
      </dgm:prSet>
      <dgm:spPr/>
      <dgm:t>
        <a:bodyPr/>
        <a:lstStyle/>
        <a:p>
          <a:endParaRPr lang="it-IT"/>
        </a:p>
      </dgm:t>
    </dgm:pt>
    <dgm:pt modelId="{8B779753-26D9-4747-AEF8-ED4B15205702}" type="pres">
      <dgm:prSet presAssocID="{C8F16073-C276-439A-ACD9-147EC6C284E2}" presName="boxAndChildren" presStyleCnt="0"/>
      <dgm:spPr/>
    </dgm:pt>
    <dgm:pt modelId="{6EC256FC-9A38-4083-BFE1-F68DE52602FB}" type="pres">
      <dgm:prSet presAssocID="{C8F16073-C276-439A-ACD9-147EC6C284E2}" presName="parentTextBox" presStyleLbl="node1" presStyleIdx="0" presStyleCnt="1"/>
      <dgm:spPr/>
      <dgm:t>
        <a:bodyPr/>
        <a:lstStyle/>
        <a:p>
          <a:endParaRPr lang="it-IT"/>
        </a:p>
      </dgm:t>
    </dgm:pt>
  </dgm:ptLst>
  <dgm:cxnLst>
    <dgm:cxn modelId="{DE25AB02-BBB4-4359-9BF4-85880AB0EB7F}" type="presOf" srcId="{7F3256DC-A91D-4B31-9C5B-2CFEEC1CCED2}" destId="{D35B36D8-340D-40DD-A69C-C3EB52E09957}" srcOrd="0" destOrd="0" presId="urn:microsoft.com/office/officeart/2005/8/layout/process4"/>
    <dgm:cxn modelId="{2B0D388F-9707-4256-AA70-A1CAE73CDDFE}" type="presOf" srcId="{C8F16073-C276-439A-ACD9-147EC6C284E2}" destId="{6EC256FC-9A38-4083-BFE1-F68DE52602FB}" srcOrd="0" destOrd="0" presId="urn:microsoft.com/office/officeart/2005/8/layout/process4"/>
    <dgm:cxn modelId="{D1335D08-878C-4E55-A228-338786DEC1CF}" srcId="{7F3256DC-A91D-4B31-9C5B-2CFEEC1CCED2}" destId="{C8F16073-C276-439A-ACD9-147EC6C284E2}" srcOrd="0" destOrd="0" parTransId="{808784CB-1010-44F0-A98D-127A4EEF81B4}" sibTransId="{4E479A68-DA8B-4C5E-AFBB-E3F4273CA5B5}"/>
    <dgm:cxn modelId="{01DCAB83-7000-468A-A074-6CC2C622DFD1}" type="presParOf" srcId="{D35B36D8-340D-40DD-A69C-C3EB52E09957}" destId="{8B779753-26D9-4747-AEF8-ED4B15205702}" srcOrd="0" destOrd="0" presId="urn:microsoft.com/office/officeart/2005/8/layout/process4"/>
    <dgm:cxn modelId="{25738222-BC2A-4572-AFF1-0D1855EC78E6}" type="presParOf" srcId="{8B779753-26D9-4747-AEF8-ED4B15205702}" destId="{6EC256FC-9A38-4083-BFE1-F68DE52602F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2136A212-686D-437D-A044-94F5ADC58D21}" type="presOf" srcId="{188FD03C-7D6A-4D29-8FCB-9C1383057E36}" destId="{C08F212E-D010-4B1B-884C-243E8BB88BD2}" srcOrd="0" destOrd="0" presId="urn:microsoft.com/office/officeart/2005/8/layout/list1"/>
    <dgm:cxn modelId="{0C08D944-CE3F-4670-9405-62F041A0771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6ADBFE0E-AA34-4B0F-AC01-2DAABA0FD1F6}" type="presOf" srcId="{E4C7AF03-E2BD-4E48-8DAB-C1261D3D7EA9}" destId="{21D380AD-5D38-4835-9FB5-615E5454C686}" srcOrd="1" destOrd="0" presId="urn:microsoft.com/office/officeart/2005/8/layout/list1"/>
    <dgm:cxn modelId="{6D22FF21-1D96-4A5C-BC20-1C09A8A1CFDE}" type="presParOf" srcId="{C08F212E-D010-4B1B-884C-243E8BB88BD2}" destId="{A042C0D5-6636-40E8-83EA-703099528EDB}" srcOrd="0" destOrd="0" presId="urn:microsoft.com/office/officeart/2005/8/layout/list1"/>
    <dgm:cxn modelId="{03509F74-CB82-470F-B75F-497B104D4168}" type="presParOf" srcId="{A042C0D5-6636-40E8-83EA-703099528EDB}" destId="{03DB856F-DE91-4CA0-AD05-B356DE21BFDC}" srcOrd="0" destOrd="0" presId="urn:microsoft.com/office/officeart/2005/8/layout/list1"/>
    <dgm:cxn modelId="{FD64B43A-A683-48CC-BA9B-5EF7EA2C0500}" type="presParOf" srcId="{A042C0D5-6636-40E8-83EA-703099528EDB}" destId="{21D380AD-5D38-4835-9FB5-615E5454C686}" srcOrd="1" destOrd="0" presId="urn:microsoft.com/office/officeart/2005/8/layout/list1"/>
    <dgm:cxn modelId="{9DC7BCE5-86A3-4A58-AFD8-73D1852B70B1}" type="presParOf" srcId="{C08F212E-D010-4B1B-884C-243E8BB88BD2}" destId="{E77B3B8A-36B6-4AF7-9D59-DF889FA8E07C}" srcOrd="1" destOrd="0" presId="urn:microsoft.com/office/officeart/2005/8/layout/list1"/>
    <dgm:cxn modelId="{DC09E136-04A5-4BB5-B24B-DEA1FD34593B}"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400" b="1" dirty="0" smtClean="0"/>
            <a:t>TAVOLI TEMATICI</a:t>
          </a:r>
          <a:endParaRPr lang="it-IT" sz="2400" b="1" dirty="0"/>
        </a:p>
      </dgm:t>
    </dgm:pt>
    <dgm:pt modelId="{4B3C5EFE-833D-4256-8D22-790DD4FEA846}" type="parTrans" cxnId="{AA13AB5C-83C5-45C1-864A-5D3145E95840}">
      <dgm:prSet/>
      <dgm:spPr/>
      <dgm:t>
        <a:bodyPr/>
        <a:lstStyle/>
        <a:p>
          <a:endParaRPr lang="it-IT" sz="2400"/>
        </a:p>
      </dgm:t>
    </dgm:pt>
    <dgm:pt modelId="{CE2E410B-761E-4681-BB83-5F0176147C43}" type="sibTrans" cxnId="{AA13AB5C-83C5-45C1-864A-5D3145E95840}">
      <dgm:prSet/>
      <dgm:spPr/>
      <dgm:t>
        <a:bodyPr/>
        <a:lstStyle/>
        <a:p>
          <a:endParaRPr lang="it-IT" sz="24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277778" custLinFactNeighborX="136" custLinFactNeighborY="500">
        <dgm:presLayoutVars>
          <dgm:chMax val="1"/>
          <dgm:bulletEnabled val="1"/>
        </dgm:presLayoutVars>
      </dgm:prSet>
      <dgm:spPr/>
      <dgm:t>
        <a:bodyPr/>
        <a:lstStyle/>
        <a:p>
          <a:endParaRPr lang="it-IT"/>
        </a:p>
      </dgm:t>
    </dgm:pt>
  </dgm:ptLst>
  <dgm:cxnLst>
    <dgm:cxn modelId="{C966A94C-D8A0-4ADE-8951-5E6D14C8508A}"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A82704AA-9A15-46BF-A12E-C8F5AA2D7EC2}" type="presOf" srcId="{F23A2E33-A7A9-4C0C-9E2D-FE9B09B27B0C}" destId="{4B75031E-EAE2-44AE-A204-79AAE3CD8BF2}" srcOrd="0" destOrd="0" presId="urn:microsoft.com/office/officeart/2005/8/layout/vList5"/>
    <dgm:cxn modelId="{C962FA5A-B3AD-4310-AAFD-3E8AF6430363}" type="presParOf" srcId="{67CAF0F0-11C7-41D4-B458-17DD1ACC65D7}" destId="{91EF4C2B-0965-4D66-A48D-ECB7ACAE5C2D}" srcOrd="0" destOrd="0" presId="urn:microsoft.com/office/officeart/2005/8/layout/vList5"/>
    <dgm:cxn modelId="{7CBB1B4E-D2E7-43CC-97B3-68461A5780C5}" type="presParOf" srcId="{91EF4C2B-0965-4D66-A48D-ECB7ACAE5C2D}" destId="{4B75031E-EAE2-44AE-A204-79AAE3CD8BF2}"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46F439AD-15B3-43E3-AB64-EE123098B2C7}" type="presOf" srcId="{9AF403A6-2C5C-4F1B-B787-47496D3DBC71}" destId="{639FA514-32E4-4E31-8688-3C040A3F30E9}" srcOrd="0" destOrd="0" presId="urn:microsoft.com/office/officeart/2005/8/layout/chevronAccent+Icon"/>
    <dgm:cxn modelId="{58E1DA98-F135-4699-8D2F-F0E81F2FA480}" type="presOf" srcId="{72D59079-C521-4525-81A4-701D931A8233}" destId="{9CE9EFE3-4E69-404A-8A99-59388A9E3922}" srcOrd="0" destOrd="0" presId="urn:microsoft.com/office/officeart/2005/8/layout/chevronAccent+Icon"/>
    <dgm:cxn modelId="{F56F1F1B-D8E4-4414-8349-A53608AF601F}" type="presParOf" srcId="{639FA514-32E4-4E31-8688-3C040A3F30E9}" destId="{F100BA9B-D4E3-421F-B5D8-42E4C50A115C}" srcOrd="0" destOrd="0" presId="urn:microsoft.com/office/officeart/2005/8/layout/chevronAccent+Icon"/>
    <dgm:cxn modelId="{3ED1719C-1B2F-455B-A41B-39D531A311A8}" type="presParOf" srcId="{F100BA9B-D4E3-421F-B5D8-42E4C50A115C}" destId="{51AD98A5-0898-43D1-8FB1-9AA58104A73C}" srcOrd="0" destOrd="0" presId="urn:microsoft.com/office/officeart/2005/8/layout/chevronAccent+Icon"/>
    <dgm:cxn modelId="{E9D22BC4-7D1C-42AD-973F-1B90F7534685}"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419F111E-40FB-4486-BA72-FAF55C9050C6}" type="doc">
      <dgm:prSet loTypeId="urn:microsoft.com/office/officeart/2005/8/layout/lProcess2" loCatId="list" qsTypeId="urn:microsoft.com/office/officeart/2005/8/quickstyle/simple1" qsCatId="simple" csTypeId="urn:microsoft.com/office/officeart/2005/8/colors/accent6_1" csCatId="accent6" phldr="1"/>
      <dgm:spPr/>
      <dgm:t>
        <a:bodyPr/>
        <a:lstStyle/>
        <a:p>
          <a:endParaRPr lang="it-IT"/>
        </a:p>
      </dgm:t>
    </dgm:pt>
    <dgm:pt modelId="{B3B76759-FF36-4305-985B-67428D966BA1}">
      <dgm:prSet custT="1"/>
      <dgm:spPr/>
      <dgm:t>
        <a:bodyPr/>
        <a:lstStyle/>
        <a:p>
          <a:pPr algn="just" rtl="0"/>
          <a:r>
            <a:rPr lang="it-IT" sz="1800" b="1" dirty="0" smtClean="0">
              <a:solidFill>
                <a:schemeClr val="bg2">
                  <a:lumMod val="25000"/>
                </a:schemeClr>
              </a:solidFill>
            </a:rPr>
            <a:t>Si osserva come la Sicilia al momento non possa vantare un’esperienza consolidata nella produzione di tecnologie per lo sfruttamento e il risparmio energetico. Si rilevano tuttavia alcuni significativi elementi che - se opportunamente orientati-  permetterebbero l'avvio di un processo di trasformazione in senso innovativo di alcune delle componenti dell'economia produttiva a livello </a:t>
          </a:r>
          <a:r>
            <a:rPr lang="it-IT" sz="1800" b="1" dirty="0" smtClean="0">
              <a:solidFill>
                <a:schemeClr val="bg2">
                  <a:lumMod val="25000"/>
                </a:schemeClr>
              </a:solidFill>
            </a:rPr>
            <a:t>regionale.</a:t>
          </a:r>
          <a:endParaRPr lang="it-IT" sz="1800" b="1" i="1" dirty="0">
            <a:solidFill>
              <a:schemeClr val="bg2">
                <a:lumMod val="25000"/>
              </a:schemeClr>
            </a:solidFill>
          </a:endParaRPr>
        </a:p>
      </dgm:t>
    </dgm:pt>
    <dgm:pt modelId="{B25BB2C5-7746-4ECA-B133-221232537A0B}" type="parTrans" cxnId="{C9D87003-20D3-4942-9E9E-3B7C6758395C}">
      <dgm:prSet/>
      <dgm:spPr/>
      <dgm:t>
        <a:bodyPr/>
        <a:lstStyle/>
        <a:p>
          <a:endParaRPr lang="it-IT"/>
        </a:p>
      </dgm:t>
    </dgm:pt>
    <dgm:pt modelId="{B933D05E-06CE-4F7F-AA42-03D44AA84DF0}" type="sibTrans" cxnId="{C9D87003-20D3-4942-9E9E-3B7C6758395C}">
      <dgm:prSet/>
      <dgm:spPr/>
      <dgm:t>
        <a:bodyPr/>
        <a:lstStyle/>
        <a:p>
          <a:endParaRPr lang="it-IT"/>
        </a:p>
      </dgm:t>
    </dgm:pt>
    <dgm:pt modelId="{2BC7B398-0DE4-4BFF-8F6E-86FCAAF956D3}" type="pres">
      <dgm:prSet presAssocID="{419F111E-40FB-4486-BA72-FAF55C9050C6}" presName="theList" presStyleCnt="0">
        <dgm:presLayoutVars>
          <dgm:dir/>
          <dgm:animLvl val="lvl"/>
          <dgm:resizeHandles val="exact"/>
        </dgm:presLayoutVars>
      </dgm:prSet>
      <dgm:spPr/>
      <dgm:t>
        <a:bodyPr/>
        <a:lstStyle/>
        <a:p>
          <a:endParaRPr lang="it-IT"/>
        </a:p>
      </dgm:t>
    </dgm:pt>
    <dgm:pt modelId="{FDA393C6-FC4B-4C3A-AD3A-95C4D9010EEE}" type="pres">
      <dgm:prSet presAssocID="{B3B76759-FF36-4305-985B-67428D966BA1}" presName="compNode" presStyleCnt="0"/>
      <dgm:spPr/>
    </dgm:pt>
    <dgm:pt modelId="{3F6FA827-A18D-4D12-975C-89F7224F3D1F}" type="pres">
      <dgm:prSet presAssocID="{B3B76759-FF36-4305-985B-67428D966BA1}" presName="aNode" presStyleLbl="bgShp" presStyleIdx="0" presStyleCnt="1"/>
      <dgm:spPr/>
      <dgm:t>
        <a:bodyPr/>
        <a:lstStyle/>
        <a:p>
          <a:endParaRPr lang="it-IT"/>
        </a:p>
      </dgm:t>
    </dgm:pt>
    <dgm:pt modelId="{8F076347-3464-4A7B-843C-B006B88D5129}" type="pres">
      <dgm:prSet presAssocID="{B3B76759-FF36-4305-985B-67428D966BA1}" presName="textNode" presStyleLbl="bgShp" presStyleIdx="0" presStyleCnt="1"/>
      <dgm:spPr/>
      <dgm:t>
        <a:bodyPr/>
        <a:lstStyle/>
        <a:p>
          <a:endParaRPr lang="it-IT"/>
        </a:p>
      </dgm:t>
    </dgm:pt>
    <dgm:pt modelId="{5A62CCEA-7F5D-4970-9D83-8EE4EDD098CC}" type="pres">
      <dgm:prSet presAssocID="{B3B76759-FF36-4305-985B-67428D966BA1}" presName="compChildNode" presStyleCnt="0"/>
      <dgm:spPr/>
    </dgm:pt>
    <dgm:pt modelId="{DFFB9DE9-C2B7-46B7-96CE-5D028BFADB5E}" type="pres">
      <dgm:prSet presAssocID="{B3B76759-FF36-4305-985B-67428D966BA1}" presName="theInnerList" presStyleCnt="0"/>
      <dgm:spPr/>
    </dgm:pt>
  </dgm:ptLst>
  <dgm:cxnLst>
    <dgm:cxn modelId="{BCF62282-5F04-40FF-A34F-100FE98CEDDC}" type="presOf" srcId="{419F111E-40FB-4486-BA72-FAF55C9050C6}" destId="{2BC7B398-0DE4-4BFF-8F6E-86FCAAF956D3}" srcOrd="0" destOrd="0" presId="urn:microsoft.com/office/officeart/2005/8/layout/lProcess2"/>
    <dgm:cxn modelId="{E943A62A-3D87-4E10-AE1E-A2D522CD3A0F}" type="presOf" srcId="{B3B76759-FF36-4305-985B-67428D966BA1}" destId="{3F6FA827-A18D-4D12-975C-89F7224F3D1F}" srcOrd="0" destOrd="0" presId="urn:microsoft.com/office/officeart/2005/8/layout/lProcess2"/>
    <dgm:cxn modelId="{D5E2DA85-A7F0-4FD4-97CF-30A8E7A11270}" type="presOf" srcId="{B3B76759-FF36-4305-985B-67428D966BA1}" destId="{8F076347-3464-4A7B-843C-B006B88D5129}" srcOrd="1" destOrd="0" presId="urn:microsoft.com/office/officeart/2005/8/layout/lProcess2"/>
    <dgm:cxn modelId="{C9D87003-20D3-4942-9E9E-3B7C6758395C}" srcId="{419F111E-40FB-4486-BA72-FAF55C9050C6}" destId="{B3B76759-FF36-4305-985B-67428D966BA1}" srcOrd="0" destOrd="0" parTransId="{B25BB2C5-7746-4ECA-B133-221232537A0B}" sibTransId="{B933D05E-06CE-4F7F-AA42-03D44AA84DF0}"/>
    <dgm:cxn modelId="{7AE32BF2-D5DE-4E9F-BE07-1D1B7817F83A}" type="presParOf" srcId="{2BC7B398-0DE4-4BFF-8F6E-86FCAAF956D3}" destId="{FDA393C6-FC4B-4C3A-AD3A-95C4D9010EEE}" srcOrd="0" destOrd="0" presId="urn:microsoft.com/office/officeart/2005/8/layout/lProcess2"/>
    <dgm:cxn modelId="{2F886105-B9BF-47AE-8284-CC9A98021916}" type="presParOf" srcId="{FDA393C6-FC4B-4C3A-AD3A-95C4D9010EEE}" destId="{3F6FA827-A18D-4D12-975C-89F7224F3D1F}" srcOrd="0" destOrd="0" presId="urn:microsoft.com/office/officeart/2005/8/layout/lProcess2"/>
    <dgm:cxn modelId="{D2309144-BD32-4DED-951A-FC39EBF7EFAA}" type="presParOf" srcId="{FDA393C6-FC4B-4C3A-AD3A-95C4D9010EEE}" destId="{8F076347-3464-4A7B-843C-B006B88D5129}" srcOrd="1" destOrd="0" presId="urn:microsoft.com/office/officeart/2005/8/layout/lProcess2"/>
    <dgm:cxn modelId="{76C0DAC3-D47B-4599-BA3E-83175EFB4D12}" type="presParOf" srcId="{FDA393C6-FC4B-4C3A-AD3A-95C4D9010EEE}" destId="{5A62CCEA-7F5D-4970-9D83-8EE4EDD098CC}" srcOrd="2" destOrd="0" presId="urn:microsoft.com/office/officeart/2005/8/layout/lProcess2"/>
    <dgm:cxn modelId="{8BE45ECB-61F8-40C2-9A4B-9DFD6558AFF9}" type="presParOf" srcId="{5A62CCEA-7F5D-4970-9D83-8EE4EDD098CC}" destId="{DFFB9DE9-C2B7-46B7-96CE-5D028BFADB5E}" srcOrd="0" destOrd="0" presId="urn:microsoft.com/office/officeart/2005/8/layout/lProcess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2. 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A330150E-A1F2-4985-A1C5-92C6E02485C2}" type="presOf" srcId="{E4C7AF03-E2BD-4E48-8DAB-C1261D3D7EA9}" destId="{21D380AD-5D38-4835-9FB5-615E5454C686}" srcOrd="1" destOrd="0" presId="urn:microsoft.com/office/officeart/2005/8/layout/list1"/>
    <dgm:cxn modelId="{08B7BD68-5EA9-4630-9234-7E7775526871}" type="presOf" srcId="{188FD03C-7D6A-4D29-8FCB-9C1383057E36}" destId="{C08F212E-D010-4B1B-884C-243E8BB88BD2}" srcOrd="0" destOrd="0" presId="urn:microsoft.com/office/officeart/2005/8/layout/list1"/>
    <dgm:cxn modelId="{A2613B5B-E36A-40CB-A78D-18EA3F2ED77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9FC5FA0D-6BA4-478F-A812-B390DE948488}" type="presParOf" srcId="{C08F212E-D010-4B1B-884C-243E8BB88BD2}" destId="{A042C0D5-6636-40E8-83EA-703099528EDB}" srcOrd="0" destOrd="0" presId="urn:microsoft.com/office/officeart/2005/8/layout/list1"/>
    <dgm:cxn modelId="{03DB9E38-BFDC-4758-BBCB-BE8F85A322AD}" type="presParOf" srcId="{A042C0D5-6636-40E8-83EA-703099528EDB}" destId="{03DB856F-DE91-4CA0-AD05-B356DE21BFDC}" srcOrd="0" destOrd="0" presId="urn:microsoft.com/office/officeart/2005/8/layout/list1"/>
    <dgm:cxn modelId="{B5312C78-CBF7-4324-971F-196A397F1528}" type="presParOf" srcId="{A042C0D5-6636-40E8-83EA-703099528EDB}" destId="{21D380AD-5D38-4835-9FB5-615E5454C686}" srcOrd="1" destOrd="0" presId="urn:microsoft.com/office/officeart/2005/8/layout/list1"/>
    <dgm:cxn modelId="{9F7D75B9-7665-4F74-913E-FA192813BC07}" type="presParOf" srcId="{C08F212E-D010-4B1B-884C-243E8BB88BD2}" destId="{E77B3B8A-36B6-4AF7-9D59-DF889FA8E07C}" srcOrd="1" destOrd="0" presId="urn:microsoft.com/office/officeart/2005/8/layout/list1"/>
    <dgm:cxn modelId="{022F58EB-96DA-4AB4-8C50-D6A73DB97C2A}"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scientifiche e tecnologiche</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192AABC6-9690-4A74-9B06-2EFBD5F01036}" type="presOf" srcId="{72D59079-C521-4525-81A4-701D931A8233}" destId="{9CE9EFE3-4E69-404A-8A99-59388A9E3922}" srcOrd="0" destOrd="0" presId="urn:microsoft.com/office/officeart/2005/8/layout/chevronAccent+Icon"/>
    <dgm:cxn modelId="{56A6FC55-A806-4CBF-8A3D-4256E05C5D5E}" type="presOf" srcId="{9AF403A6-2C5C-4F1B-B787-47496D3DBC71}" destId="{639FA514-32E4-4E31-8688-3C040A3F30E9}" srcOrd="0" destOrd="0" presId="urn:microsoft.com/office/officeart/2005/8/layout/chevronAccent+Icon"/>
    <dgm:cxn modelId="{88C8E612-0D9A-482E-B821-11D5C6A4CB44}" type="presParOf" srcId="{639FA514-32E4-4E31-8688-3C040A3F30E9}" destId="{F100BA9B-D4E3-421F-B5D8-42E4C50A115C}" srcOrd="0" destOrd="0" presId="urn:microsoft.com/office/officeart/2005/8/layout/chevronAccent+Icon"/>
    <dgm:cxn modelId="{DCE39546-B193-44C7-9BFA-65A0206051E2}" type="presParOf" srcId="{F100BA9B-D4E3-421F-B5D8-42E4C50A115C}" destId="{51AD98A5-0898-43D1-8FB1-9AA58104A73C}" srcOrd="0" destOrd="0" presId="urn:microsoft.com/office/officeart/2005/8/layout/chevronAccent+Icon"/>
    <dgm:cxn modelId="{E0724157-0E32-4CD5-A814-9452685693F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E3B7187C-66D1-46C5-8C6D-72B1B685A54D}" type="doc">
      <dgm:prSet loTypeId="urn:microsoft.com/office/officeart/2005/8/layout/hList6" loCatId="list" qsTypeId="urn:microsoft.com/office/officeart/2005/8/quickstyle/simple1" qsCatId="simple" csTypeId="urn:microsoft.com/office/officeart/2005/8/colors/accent6_2" csCatId="accent6" phldr="1"/>
      <dgm:spPr/>
      <dgm:t>
        <a:bodyPr/>
        <a:lstStyle/>
        <a:p>
          <a:endParaRPr lang="it-IT"/>
        </a:p>
      </dgm:t>
    </dgm:pt>
    <dgm:pt modelId="{8E242049-A322-4485-BEB4-4F80C72F42F4}">
      <dgm:prSet custT="1"/>
      <dgm:spPr/>
      <dgm:t>
        <a:bodyPr/>
        <a:lstStyle/>
        <a:p>
          <a:pPr rtl="0"/>
          <a:r>
            <a:rPr lang="it-IT" sz="1200" b="1" dirty="0" smtClean="0"/>
            <a:t>Sistemi fotovoltaici a silicio &amp; fotovoltaico di terza generazione</a:t>
          </a:r>
          <a:endParaRPr lang="it-IT" sz="1200" b="1" dirty="0"/>
        </a:p>
      </dgm:t>
    </dgm:pt>
    <dgm:pt modelId="{A37563D4-0A6A-472C-B6C0-E6070FE276B8}" type="parTrans" cxnId="{8886683E-AC65-4541-81D8-FD8A10981CD3}">
      <dgm:prSet/>
      <dgm:spPr/>
      <dgm:t>
        <a:bodyPr/>
        <a:lstStyle/>
        <a:p>
          <a:endParaRPr lang="it-IT"/>
        </a:p>
      </dgm:t>
    </dgm:pt>
    <dgm:pt modelId="{681FCFDC-26E9-4A3D-AE69-64DDE0606CFC}" type="sibTrans" cxnId="{8886683E-AC65-4541-81D8-FD8A10981CD3}">
      <dgm:prSet/>
      <dgm:spPr/>
      <dgm:t>
        <a:bodyPr/>
        <a:lstStyle/>
        <a:p>
          <a:endParaRPr lang="it-IT"/>
        </a:p>
      </dgm:t>
    </dgm:pt>
    <dgm:pt modelId="{529E06B4-DDFD-4869-90A9-4463D3A27485}">
      <dgm:prSet custT="1"/>
      <dgm:spPr/>
      <dgm:t>
        <a:bodyPr/>
        <a:lstStyle/>
        <a:p>
          <a:r>
            <a:rPr lang="it-IT" sz="1200" b="1" dirty="0" smtClean="0"/>
            <a:t>Celle a Combustibile </a:t>
          </a:r>
          <a:endParaRPr lang="it-IT" sz="1200" b="1" dirty="0"/>
        </a:p>
      </dgm:t>
    </dgm:pt>
    <dgm:pt modelId="{BA40D540-DF16-4BAC-B107-F52AA424B9DE}" type="parTrans" cxnId="{AAF12F9C-A30E-4B4F-B203-466671149003}">
      <dgm:prSet/>
      <dgm:spPr/>
      <dgm:t>
        <a:bodyPr/>
        <a:lstStyle/>
        <a:p>
          <a:endParaRPr lang="it-IT"/>
        </a:p>
      </dgm:t>
    </dgm:pt>
    <dgm:pt modelId="{0FCB2D60-5D1F-47AF-9822-C69D06D1A7E5}" type="sibTrans" cxnId="{AAF12F9C-A30E-4B4F-B203-466671149003}">
      <dgm:prSet/>
      <dgm:spPr/>
      <dgm:t>
        <a:bodyPr/>
        <a:lstStyle/>
        <a:p>
          <a:endParaRPr lang="it-IT"/>
        </a:p>
      </dgm:t>
    </dgm:pt>
    <dgm:pt modelId="{6AF63666-7529-47C8-BB5F-FB90819E225A}">
      <dgm:prSet custT="1"/>
      <dgm:spPr/>
      <dgm:t>
        <a:bodyPr/>
        <a:lstStyle/>
        <a:p>
          <a:r>
            <a:rPr lang="it-IT" sz="1200" b="1" dirty="0" smtClean="0"/>
            <a:t>Produzione di idrogeno </a:t>
          </a:r>
          <a:endParaRPr lang="it-IT" sz="1200" b="1" dirty="0"/>
        </a:p>
      </dgm:t>
    </dgm:pt>
    <dgm:pt modelId="{A07D783B-8C1C-45E3-8BA8-D877F7236CC3}" type="parTrans" cxnId="{3C81949E-4E4B-4D9F-A893-54962CFD811F}">
      <dgm:prSet/>
      <dgm:spPr/>
      <dgm:t>
        <a:bodyPr/>
        <a:lstStyle/>
        <a:p>
          <a:endParaRPr lang="it-IT"/>
        </a:p>
      </dgm:t>
    </dgm:pt>
    <dgm:pt modelId="{28392E71-F87D-4186-8848-8C739FBE8D2C}" type="sibTrans" cxnId="{3C81949E-4E4B-4D9F-A893-54962CFD811F}">
      <dgm:prSet/>
      <dgm:spPr/>
      <dgm:t>
        <a:bodyPr/>
        <a:lstStyle/>
        <a:p>
          <a:endParaRPr lang="it-IT"/>
        </a:p>
      </dgm:t>
    </dgm:pt>
    <dgm:pt modelId="{ACD3FC17-0F56-4CC3-9A3E-4C6D0BFF24FC}">
      <dgm:prSet custT="1"/>
      <dgm:spPr/>
      <dgm:t>
        <a:bodyPr/>
        <a:lstStyle/>
        <a:p>
          <a:r>
            <a:rPr lang="it-IT" sz="1200" b="1" dirty="0" err="1" smtClean="0"/>
            <a:t>Micro&amp;mini-eolico</a:t>
          </a:r>
          <a:r>
            <a:rPr lang="it-IT" sz="1200" b="1" dirty="0" smtClean="0"/>
            <a:t> </a:t>
          </a:r>
          <a:endParaRPr lang="it-IT" sz="1200" b="1" dirty="0"/>
        </a:p>
      </dgm:t>
    </dgm:pt>
    <dgm:pt modelId="{322C0F73-6297-4E80-BC81-CA4A5E8FCE07}" type="parTrans" cxnId="{FABA5051-8DC0-47A4-B325-AF90A5135ED0}">
      <dgm:prSet/>
      <dgm:spPr/>
      <dgm:t>
        <a:bodyPr/>
        <a:lstStyle/>
        <a:p>
          <a:endParaRPr lang="it-IT"/>
        </a:p>
      </dgm:t>
    </dgm:pt>
    <dgm:pt modelId="{B32A585A-D213-42B9-8EED-10D4ADC0A589}" type="sibTrans" cxnId="{FABA5051-8DC0-47A4-B325-AF90A5135ED0}">
      <dgm:prSet/>
      <dgm:spPr/>
      <dgm:t>
        <a:bodyPr/>
        <a:lstStyle/>
        <a:p>
          <a:endParaRPr lang="it-IT"/>
        </a:p>
      </dgm:t>
    </dgm:pt>
    <dgm:pt modelId="{A2FE8F60-053B-4DD5-8536-D05BED43B756}">
      <dgm:prSet custT="1"/>
      <dgm:spPr/>
      <dgm:t>
        <a:bodyPr/>
        <a:lstStyle/>
        <a:p>
          <a:r>
            <a:rPr lang="it-IT" sz="1200" b="1" dirty="0" smtClean="0"/>
            <a:t>Biomasse &amp; Biocombustibile </a:t>
          </a:r>
          <a:endParaRPr lang="it-IT" sz="1200" b="1" dirty="0"/>
        </a:p>
      </dgm:t>
    </dgm:pt>
    <dgm:pt modelId="{30053605-0144-47F0-A8AC-EE617A9795B1}" type="parTrans" cxnId="{2BC6832C-059D-4403-9443-1D42771DA7E9}">
      <dgm:prSet/>
      <dgm:spPr/>
      <dgm:t>
        <a:bodyPr/>
        <a:lstStyle/>
        <a:p>
          <a:endParaRPr lang="it-IT"/>
        </a:p>
      </dgm:t>
    </dgm:pt>
    <dgm:pt modelId="{086DF9F4-6E5B-4E8B-A880-F2D26EC30C46}" type="sibTrans" cxnId="{2BC6832C-059D-4403-9443-1D42771DA7E9}">
      <dgm:prSet/>
      <dgm:spPr/>
      <dgm:t>
        <a:bodyPr/>
        <a:lstStyle/>
        <a:p>
          <a:endParaRPr lang="it-IT"/>
        </a:p>
      </dgm:t>
    </dgm:pt>
    <dgm:pt modelId="{9E9F43B8-02CA-4EEB-AB50-83E3D76CD83F}">
      <dgm:prSet custT="1"/>
      <dgm:spPr/>
      <dgm:t>
        <a:bodyPr/>
        <a:lstStyle/>
        <a:p>
          <a:r>
            <a:rPr lang="it-IT" sz="1200" b="1" dirty="0" smtClean="0"/>
            <a:t>Efficienza Energetica &amp; Smart Techno </a:t>
          </a:r>
          <a:endParaRPr lang="it-IT" sz="1200" b="1" dirty="0"/>
        </a:p>
      </dgm:t>
    </dgm:pt>
    <dgm:pt modelId="{B293E53E-1523-43B2-BE60-C95BE5EC758C}" type="parTrans" cxnId="{A20E28A5-2051-4D48-8867-0FDE6E29397B}">
      <dgm:prSet/>
      <dgm:spPr/>
      <dgm:t>
        <a:bodyPr/>
        <a:lstStyle/>
        <a:p>
          <a:endParaRPr lang="it-IT"/>
        </a:p>
      </dgm:t>
    </dgm:pt>
    <dgm:pt modelId="{67A0DF3B-6297-428F-BAD5-8A428277357D}" type="sibTrans" cxnId="{A20E28A5-2051-4D48-8867-0FDE6E29397B}">
      <dgm:prSet/>
      <dgm:spPr/>
      <dgm:t>
        <a:bodyPr/>
        <a:lstStyle/>
        <a:p>
          <a:endParaRPr lang="it-IT"/>
        </a:p>
      </dgm:t>
    </dgm:pt>
    <dgm:pt modelId="{C1BB2E03-107E-4A22-80B8-236A633EB4F6}">
      <dgm:prSet custT="1"/>
      <dgm:spPr/>
      <dgm:t>
        <a:bodyPr/>
        <a:lstStyle/>
        <a:p>
          <a:r>
            <a:rPr lang="it-IT" sz="1200" b="1" dirty="0" smtClean="0"/>
            <a:t>Solare termico </a:t>
          </a:r>
          <a:endParaRPr lang="it-IT" sz="1200" b="1" dirty="0"/>
        </a:p>
      </dgm:t>
    </dgm:pt>
    <dgm:pt modelId="{87CD9867-E7E3-404B-AF12-EF2E83FBD60C}" type="parTrans" cxnId="{6355F97A-B4CC-4F53-AF21-336787D8205B}">
      <dgm:prSet/>
      <dgm:spPr/>
      <dgm:t>
        <a:bodyPr/>
        <a:lstStyle/>
        <a:p>
          <a:endParaRPr lang="it-IT"/>
        </a:p>
      </dgm:t>
    </dgm:pt>
    <dgm:pt modelId="{57404064-78A0-4050-AA66-28AAB3C2A0E4}" type="sibTrans" cxnId="{6355F97A-B4CC-4F53-AF21-336787D8205B}">
      <dgm:prSet/>
      <dgm:spPr/>
      <dgm:t>
        <a:bodyPr/>
        <a:lstStyle/>
        <a:p>
          <a:endParaRPr lang="it-IT"/>
        </a:p>
      </dgm:t>
    </dgm:pt>
    <dgm:pt modelId="{BCBFBF2E-612A-4500-996C-F0AFB381FF63}">
      <dgm:prSet custT="1"/>
      <dgm:spPr/>
      <dgm:t>
        <a:bodyPr/>
        <a:lstStyle/>
        <a:p>
          <a:r>
            <a:rPr lang="it-IT" sz="1200" b="1" dirty="0" smtClean="0"/>
            <a:t>Geotermia</a:t>
          </a:r>
          <a:endParaRPr lang="it-IT" sz="1200" b="1" dirty="0"/>
        </a:p>
      </dgm:t>
    </dgm:pt>
    <dgm:pt modelId="{34911D6A-269B-4FF0-A5C6-5DF3D80859D9}" type="parTrans" cxnId="{A6896B12-4985-493C-A6DC-ADD414052174}">
      <dgm:prSet/>
      <dgm:spPr/>
      <dgm:t>
        <a:bodyPr/>
        <a:lstStyle/>
        <a:p>
          <a:endParaRPr lang="it-IT"/>
        </a:p>
      </dgm:t>
    </dgm:pt>
    <dgm:pt modelId="{EDA41CFD-853D-434E-8A6A-EC226103B54F}" type="sibTrans" cxnId="{A6896B12-4985-493C-A6DC-ADD414052174}">
      <dgm:prSet/>
      <dgm:spPr/>
      <dgm:t>
        <a:bodyPr/>
        <a:lstStyle/>
        <a:p>
          <a:endParaRPr lang="it-IT"/>
        </a:p>
      </dgm:t>
    </dgm:pt>
    <dgm:pt modelId="{9C3C2FA8-D40C-4B93-9AB6-C4B0591412AC}" type="pres">
      <dgm:prSet presAssocID="{E3B7187C-66D1-46C5-8C6D-72B1B685A54D}" presName="Name0" presStyleCnt="0">
        <dgm:presLayoutVars>
          <dgm:dir/>
          <dgm:resizeHandles val="exact"/>
        </dgm:presLayoutVars>
      </dgm:prSet>
      <dgm:spPr/>
      <dgm:t>
        <a:bodyPr/>
        <a:lstStyle/>
        <a:p>
          <a:endParaRPr lang="it-IT"/>
        </a:p>
      </dgm:t>
    </dgm:pt>
    <dgm:pt modelId="{71305EC0-DD22-4DEF-B461-A699C37567B1}" type="pres">
      <dgm:prSet presAssocID="{8E242049-A322-4485-BEB4-4F80C72F42F4}" presName="node" presStyleLbl="node1" presStyleIdx="0" presStyleCnt="8">
        <dgm:presLayoutVars>
          <dgm:bulletEnabled val="1"/>
        </dgm:presLayoutVars>
      </dgm:prSet>
      <dgm:spPr/>
      <dgm:t>
        <a:bodyPr/>
        <a:lstStyle/>
        <a:p>
          <a:endParaRPr lang="it-IT"/>
        </a:p>
      </dgm:t>
    </dgm:pt>
    <dgm:pt modelId="{9D365DAE-3251-46DB-BBC9-698576EE8675}" type="pres">
      <dgm:prSet presAssocID="{681FCFDC-26E9-4A3D-AE69-64DDE0606CFC}" presName="sibTrans" presStyleCnt="0"/>
      <dgm:spPr/>
    </dgm:pt>
    <dgm:pt modelId="{0986A703-EDCB-420F-A496-20F1F0753B2C}" type="pres">
      <dgm:prSet presAssocID="{529E06B4-DDFD-4869-90A9-4463D3A27485}" presName="node" presStyleLbl="node1" presStyleIdx="1" presStyleCnt="8">
        <dgm:presLayoutVars>
          <dgm:bulletEnabled val="1"/>
        </dgm:presLayoutVars>
      </dgm:prSet>
      <dgm:spPr/>
      <dgm:t>
        <a:bodyPr/>
        <a:lstStyle/>
        <a:p>
          <a:endParaRPr lang="it-IT"/>
        </a:p>
      </dgm:t>
    </dgm:pt>
    <dgm:pt modelId="{CC0D0856-4D75-463B-A634-52B219B120C9}" type="pres">
      <dgm:prSet presAssocID="{0FCB2D60-5D1F-47AF-9822-C69D06D1A7E5}" presName="sibTrans" presStyleCnt="0"/>
      <dgm:spPr/>
    </dgm:pt>
    <dgm:pt modelId="{9F624E28-12CC-434F-8E3A-C971BAAC65ED}" type="pres">
      <dgm:prSet presAssocID="{6AF63666-7529-47C8-BB5F-FB90819E225A}" presName="node" presStyleLbl="node1" presStyleIdx="2" presStyleCnt="8">
        <dgm:presLayoutVars>
          <dgm:bulletEnabled val="1"/>
        </dgm:presLayoutVars>
      </dgm:prSet>
      <dgm:spPr/>
      <dgm:t>
        <a:bodyPr/>
        <a:lstStyle/>
        <a:p>
          <a:endParaRPr lang="it-IT"/>
        </a:p>
      </dgm:t>
    </dgm:pt>
    <dgm:pt modelId="{422137DD-4C31-4216-9D58-FC62B1FBED66}" type="pres">
      <dgm:prSet presAssocID="{28392E71-F87D-4186-8848-8C739FBE8D2C}" presName="sibTrans" presStyleCnt="0"/>
      <dgm:spPr/>
    </dgm:pt>
    <dgm:pt modelId="{308AC4B2-D69D-4596-8743-7D78C4A4968D}" type="pres">
      <dgm:prSet presAssocID="{ACD3FC17-0F56-4CC3-9A3E-4C6D0BFF24FC}" presName="node" presStyleLbl="node1" presStyleIdx="3" presStyleCnt="8">
        <dgm:presLayoutVars>
          <dgm:bulletEnabled val="1"/>
        </dgm:presLayoutVars>
      </dgm:prSet>
      <dgm:spPr/>
      <dgm:t>
        <a:bodyPr/>
        <a:lstStyle/>
        <a:p>
          <a:endParaRPr lang="it-IT"/>
        </a:p>
      </dgm:t>
    </dgm:pt>
    <dgm:pt modelId="{4A10DDE3-2B34-42BE-A913-D3D77DF75790}" type="pres">
      <dgm:prSet presAssocID="{B32A585A-D213-42B9-8EED-10D4ADC0A589}" presName="sibTrans" presStyleCnt="0"/>
      <dgm:spPr/>
    </dgm:pt>
    <dgm:pt modelId="{D8E5CDA8-132D-402B-B237-FA42607A4D07}" type="pres">
      <dgm:prSet presAssocID="{A2FE8F60-053B-4DD5-8536-D05BED43B756}" presName="node" presStyleLbl="node1" presStyleIdx="4" presStyleCnt="8">
        <dgm:presLayoutVars>
          <dgm:bulletEnabled val="1"/>
        </dgm:presLayoutVars>
      </dgm:prSet>
      <dgm:spPr/>
      <dgm:t>
        <a:bodyPr/>
        <a:lstStyle/>
        <a:p>
          <a:endParaRPr lang="it-IT"/>
        </a:p>
      </dgm:t>
    </dgm:pt>
    <dgm:pt modelId="{1AA8E48A-7556-47D1-AB87-B95A039B5CA6}" type="pres">
      <dgm:prSet presAssocID="{086DF9F4-6E5B-4E8B-A880-F2D26EC30C46}" presName="sibTrans" presStyleCnt="0"/>
      <dgm:spPr/>
    </dgm:pt>
    <dgm:pt modelId="{27A40E25-E489-4170-A8F6-79CDF74BF2A3}" type="pres">
      <dgm:prSet presAssocID="{9E9F43B8-02CA-4EEB-AB50-83E3D76CD83F}" presName="node" presStyleLbl="node1" presStyleIdx="5" presStyleCnt="8">
        <dgm:presLayoutVars>
          <dgm:bulletEnabled val="1"/>
        </dgm:presLayoutVars>
      </dgm:prSet>
      <dgm:spPr/>
      <dgm:t>
        <a:bodyPr/>
        <a:lstStyle/>
        <a:p>
          <a:endParaRPr lang="it-IT"/>
        </a:p>
      </dgm:t>
    </dgm:pt>
    <dgm:pt modelId="{6E2453D7-6302-4D00-9F72-61E2CA3F26C6}" type="pres">
      <dgm:prSet presAssocID="{67A0DF3B-6297-428F-BAD5-8A428277357D}" presName="sibTrans" presStyleCnt="0"/>
      <dgm:spPr/>
    </dgm:pt>
    <dgm:pt modelId="{CBB45064-7B56-4C45-8E54-FC2D3FAB836E}" type="pres">
      <dgm:prSet presAssocID="{C1BB2E03-107E-4A22-80B8-236A633EB4F6}" presName="node" presStyleLbl="node1" presStyleIdx="6" presStyleCnt="8">
        <dgm:presLayoutVars>
          <dgm:bulletEnabled val="1"/>
        </dgm:presLayoutVars>
      </dgm:prSet>
      <dgm:spPr/>
      <dgm:t>
        <a:bodyPr/>
        <a:lstStyle/>
        <a:p>
          <a:endParaRPr lang="it-IT"/>
        </a:p>
      </dgm:t>
    </dgm:pt>
    <dgm:pt modelId="{B0F38327-A6AA-4E65-A1FF-D15836699666}" type="pres">
      <dgm:prSet presAssocID="{57404064-78A0-4050-AA66-28AAB3C2A0E4}" presName="sibTrans" presStyleCnt="0"/>
      <dgm:spPr/>
    </dgm:pt>
    <dgm:pt modelId="{4009111B-6F61-4B8B-B265-F919C6399E5E}" type="pres">
      <dgm:prSet presAssocID="{BCBFBF2E-612A-4500-996C-F0AFB381FF63}" presName="node" presStyleLbl="node1" presStyleIdx="7" presStyleCnt="8">
        <dgm:presLayoutVars>
          <dgm:bulletEnabled val="1"/>
        </dgm:presLayoutVars>
      </dgm:prSet>
      <dgm:spPr/>
      <dgm:t>
        <a:bodyPr/>
        <a:lstStyle/>
        <a:p>
          <a:endParaRPr lang="it-IT"/>
        </a:p>
      </dgm:t>
    </dgm:pt>
  </dgm:ptLst>
  <dgm:cxnLst>
    <dgm:cxn modelId="{A7D3D27B-836A-4C6A-A256-E2674E09A430}" type="presOf" srcId="{6AF63666-7529-47C8-BB5F-FB90819E225A}" destId="{9F624E28-12CC-434F-8E3A-C971BAAC65ED}" srcOrd="0" destOrd="0" presId="urn:microsoft.com/office/officeart/2005/8/layout/hList6"/>
    <dgm:cxn modelId="{6355F97A-B4CC-4F53-AF21-336787D8205B}" srcId="{E3B7187C-66D1-46C5-8C6D-72B1B685A54D}" destId="{C1BB2E03-107E-4A22-80B8-236A633EB4F6}" srcOrd="6" destOrd="0" parTransId="{87CD9867-E7E3-404B-AF12-EF2E83FBD60C}" sibTransId="{57404064-78A0-4050-AA66-28AAB3C2A0E4}"/>
    <dgm:cxn modelId="{C6873263-E24B-4008-8C0C-B8FDBB4A0690}" type="presOf" srcId="{529E06B4-DDFD-4869-90A9-4463D3A27485}" destId="{0986A703-EDCB-420F-A496-20F1F0753B2C}" srcOrd="0" destOrd="0" presId="urn:microsoft.com/office/officeart/2005/8/layout/hList6"/>
    <dgm:cxn modelId="{A6896B12-4985-493C-A6DC-ADD414052174}" srcId="{E3B7187C-66D1-46C5-8C6D-72B1B685A54D}" destId="{BCBFBF2E-612A-4500-996C-F0AFB381FF63}" srcOrd="7" destOrd="0" parTransId="{34911D6A-269B-4FF0-A5C6-5DF3D80859D9}" sibTransId="{EDA41CFD-853D-434E-8A6A-EC226103B54F}"/>
    <dgm:cxn modelId="{1D013A22-E293-4360-8F52-012E4F77CEEA}" type="presOf" srcId="{ACD3FC17-0F56-4CC3-9A3E-4C6D0BFF24FC}" destId="{308AC4B2-D69D-4596-8743-7D78C4A4968D}" srcOrd="0" destOrd="0" presId="urn:microsoft.com/office/officeart/2005/8/layout/hList6"/>
    <dgm:cxn modelId="{A20E28A5-2051-4D48-8867-0FDE6E29397B}" srcId="{E3B7187C-66D1-46C5-8C6D-72B1B685A54D}" destId="{9E9F43B8-02CA-4EEB-AB50-83E3D76CD83F}" srcOrd="5" destOrd="0" parTransId="{B293E53E-1523-43B2-BE60-C95BE5EC758C}" sibTransId="{67A0DF3B-6297-428F-BAD5-8A428277357D}"/>
    <dgm:cxn modelId="{97C0E954-6C58-44A8-8333-F346DC4591EE}" type="presOf" srcId="{A2FE8F60-053B-4DD5-8536-D05BED43B756}" destId="{D8E5CDA8-132D-402B-B237-FA42607A4D07}" srcOrd="0" destOrd="0" presId="urn:microsoft.com/office/officeart/2005/8/layout/hList6"/>
    <dgm:cxn modelId="{FABA5051-8DC0-47A4-B325-AF90A5135ED0}" srcId="{E3B7187C-66D1-46C5-8C6D-72B1B685A54D}" destId="{ACD3FC17-0F56-4CC3-9A3E-4C6D0BFF24FC}" srcOrd="3" destOrd="0" parTransId="{322C0F73-6297-4E80-BC81-CA4A5E8FCE07}" sibTransId="{B32A585A-D213-42B9-8EED-10D4ADC0A589}"/>
    <dgm:cxn modelId="{C0840D69-0336-4241-A7BF-BB1334D52C8A}" type="presOf" srcId="{8E242049-A322-4485-BEB4-4F80C72F42F4}" destId="{71305EC0-DD22-4DEF-B461-A699C37567B1}" srcOrd="0" destOrd="0" presId="urn:microsoft.com/office/officeart/2005/8/layout/hList6"/>
    <dgm:cxn modelId="{ECC3B33C-3C39-4A8B-B7FE-387FEE588CC4}" type="presOf" srcId="{C1BB2E03-107E-4A22-80B8-236A633EB4F6}" destId="{CBB45064-7B56-4C45-8E54-FC2D3FAB836E}" srcOrd="0" destOrd="0" presId="urn:microsoft.com/office/officeart/2005/8/layout/hList6"/>
    <dgm:cxn modelId="{8886683E-AC65-4541-81D8-FD8A10981CD3}" srcId="{E3B7187C-66D1-46C5-8C6D-72B1B685A54D}" destId="{8E242049-A322-4485-BEB4-4F80C72F42F4}" srcOrd="0" destOrd="0" parTransId="{A37563D4-0A6A-472C-B6C0-E6070FE276B8}" sibTransId="{681FCFDC-26E9-4A3D-AE69-64DDE0606CFC}"/>
    <dgm:cxn modelId="{3C81949E-4E4B-4D9F-A893-54962CFD811F}" srcId="{E3B7187C-66D1-46C5-8C6D-72B1B685A54D}" destId="{6AF63666-7529-47C8-BB5F-FB90819E225A}" srcOrd="2" destOrd="0" parTransId="{A07D783B-8C1C-45E3-8BA8-D877F7236CC3}" sibTransId="{28392E71-F87D-4186-8848-8C739FBE8D2C}"/>
    <dgm:cxn modelId="{2BC6832C-059D-4403-9443-1D42771DA7E9}" srcId="{E3B7187C-66D1-46C5-8C6D-72B1B685A54D}" destId="{A2FE8F60-053B-4DD5-8536-D05BED43B756}" srcOrd="4" destOrd="0" parTransId="{30053605-0144-47F0-A8AC-EE617A9795B1}" sibTransId="{086DF9F4-6E5B-4E8B-A880-F2D26EC30C46}"/>
    <dgm:cxn modelId="{2C823BE4-9A85-46A9-BF2A-44079C06CDD3}" type="presOf" srcId="{BCBFBF2E-612A-4500-996C-F0AFB381FF63}" destId="{4009111B-6F61-4B8B-B265-F919C6399E5E}" srcOrd="0" destOrd="0" presId="urn:microsoft.com/office/officeart/2005/8/layout/hList6"/>
    <dgm:cxn modelId="{13115340-73CC-4970-B743-5EB441BB4BB8}" type="presOf" srcId="{E3B7187C-66D1-46C5-8C6D-72B1B685A54D}" destId="{9C3C2FA8-D40C-4B93-9AB6-C4B0591412AC}" srcOrd="0" destOrd="0" presId="urn:microsoft.com/office/officeart/2005/8/layout/hList6"/>
    <dgm:cxn modelId="{773EADB1-51F7-4FCF-A8A1-50D41CFD11BA}" type="presOf" srcId="{9E9F43B8-02CA-4EEB-AB50-83E3D76CD83F}" destId="{27A40E25-E489-4170-A8F6-79CDF74BF2A3}" srcOrd="0" destOrd="0" presId="urn:microsoft.com/office/officeart/2005/8/layout/hList6"/>
    <dgm:cxn modelId="{AAF12F9C-A30E-4B4F-B203-466671149003}" srcId="{E3B7187C-66D1-46C5-8C6D-72B1B685A54D}" destId="{529E06B4-DDFD-4869-90A9-4463D3A27485}" srcOrd="1" destOrd="0" parTransId="{BA40D540-DF16-4BAC-B107-F52AA424B9DE}" sibTransId="{0FCB2D60-5D1F-47AF-9822-C69D06D1A7E5}"/>
    <dgm:cxn modelId="{AEABF9ED-CC1B-45FD-B232-275F295E507E}" type="presParOf" srcId="{9C3C2FA8-D40C-4B93-9AB6-C4B0591412AC}" destId="{71305EC0-DD22-4DEF-B461-A699C37567B1}" srcOrd="0" destOrd="0" presId="urn:microsoft.com/office/officeart/2005/8/layout/hList6"/>
    <dgm:cxn modelId="{F47E8D9B-5FF2-4A4E-AF77-9F9A10D7E383}" type="presParOf" srcId="{9C3C2FA8-D40C-4B93-9AB6-C4B0591412AC}" destId="{9D365DAE-3251-46DB-BBC9-698576EE8675}" srcOrd="1" destOrd="0" presId="urn:microsoft.com/office/officeart/2005/8/layout/hList6"/>
    <dgm:cxn modelId="{1E6C0084-AC8E-40F1-A9C1-BDC31EECA9F8}" type="presParOf" srcId="{9C3C2FA8-D40C-4B93-9AB6-C4B0591412AC}" destId="{0986A703-EDCB-420F-A496-20F1F0753B2C}" srcOrd="2" destOrd="0" presId="urn:microsoft.com/office/officeart/2005/8/layout/hList6"/>
    <dgm:cxn modelId="{DE0144FC-D5D9-49D3-AF57-6D12A3F06937}" type="presParOf" srcId="{9C3C2FA8-D40C-4B93-9AB6-C4B0591412AC}" destId="{CC0D0856-4D75-463B-A634-52B219B120C9}" srcOrd="3" destOrd="0" presId="urn:microsoft.com/office/officeart/2005/8/layout/hList6"/>
    <dgm:cxn modelId="{4BD981B3-D338-437E-AA34-C793CDB3CCA5}" type="presParOf" srcId="{9C3C2FA8-D40C-4B93-9AB6-C4B0591412AC}" destId="{9F624E28-12CC-434F-8E3A-C971BAAC65ED}" srcOrd="4" destOrd="0" presId="urn:microsoft.com/office/officeart/2005/8/layout/hList6"/>
    <dgm:cxn modelId="{0AB133F0-CB0C-477E-97B0-7ADB280F4693}" type="presParOf" srcId="{9C3C2FA8-D40C-4B93-9AB6-C4B0591412AC}" destId="{422137DD-4C31-4216-9D58-FC62B1FBED66}" srcOrd="5" destOrd="0" presId="urn:microsoft.com/office/officeart/2005/8/layout/hList6"/>
    <dgm:cxn modelId="{E5CF32E7-2514-49C8-9010-CFC878F1B1E6}" type="presParOf" srcId="{9C3C2FA8-D40C-4B93-9AB6-C4B0591412AC}" destId="{308AC4B2-D69D-4596-8743-7D78C4A4968D}" srcOrd="6" destOrd="0" presId="urn:microsoft.com/office/officeart/2005/8/layout/hList6"/>
    <dgm:cxn modelId="{59EC40A5-6629-405E-B30C-7E4FC8FB169B}" type="presParOf" srcId="{9C3C2FA8-D40C-4B93-9AB6-C4B0591412AC}" destId="{4A10DDE3-2B34-42BE-A913-D3D77DF75790}" srcOrd="7" destOrd="0" presId="urn:microsoft.com/office/officeart/2005/8/layout/hList6"/>
    <dgm:cxn modelId="{39BCDA79-29E5-4505-A3DB-E1700B19D37C}" type="presParOf" srcId="{9C3C2FA8-D40C-4B93-9AB6-C4B0591412AC}" destId="{D8E5CDA8-132D-402B-B237-FA42607A4D07}" srcOrd="8" destOrd="0" presId="urn:microsoft.com/office/officeart/2005/8/layout/hList6"/>
    <dgm:cxn modelId="{AC76298B-85F8-4E5B-8DF5-BC919780C398}" type="presParOf" srcId="{9C3C2FA8-D40C-4B93-9AB6-C4B0591412AC}" destId="{1AA8E48A-7556-47D1-AB87-B95A039B5CA6}" srcOrd="9" destOrd="0" presId="urn:microsoft.com/office/officeart/2005/8/layout/hList6"/>
    <dgm:cxn modelId="{4712A254-CFB0-4208-889E-5789573E3006}" type="presParOf" srcId="{9C3C2FA8-D40C-4B93-9AB6-C4B0591412AC}" destId="{27A40E25-E489-4170-A8F6-79CDF74BF2A3}" srcOrd="10" destOrd="0" presId="urn:microsoft.com/office/officeart/2005/8/layout/hList6"/>
    <dgm:cxn modelId="{45DE1201-8896-4DA5-8CAC-27DD1ACB707F}" type="presParOf" srcId="{9C3C2FA8-D40C-4B93-9AB6-C4B0591412AC}" destId="{6E2453D7-6302-4D00-9F72-61E2CA3F26C6}" srcOrd="11" destOrd="0" presId="urn:microsoft.com/office/officeart/2005/8/layout/hList6"/>
    <dgm:cxn modelId="{277D207A-40A0-4CF8-A556-4959E2D80595}" type="presParOf" srcId="{9C3C2FA8-D40C-4B93-9AB6-C4B0591412AC}" destId="{CBB45064-7B56-4C45-8E54-FC2D3FAB836E}" srcOrd="12" destOrd="0" presId="urn:microsoft.com/office/officeart/2005/8/layout/hList6"/>
    <dgm:cxn modelId="{D0CD840C-CA78-48E9-BB81-0702A453CB5E}" type="presParOf" srcId="{9C3C2FA8-D40C-4B93-9AB6-C4B0591412AC}" destId="{B0F38327-A6AA-4E65-A1FF-D15836699666}" srcOrd="13" destOrd="0" presId="urn:microsoft.com/office/officeart/2005/8/layout/hList6"/>
    <dgm:cxn modelId="{F758F819-02B4-4871-B5B4-6D4FD26E1841}" type="presParOf" srcId="{9C3C2FA8-D40C-4B93-9AB6-C4B0591412AC}" destId="{4009111B-6F61-4B8B-B265-F919C6399E5E}" srcOrd="14"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dirty="0" smtClean="0">
              <a:effectLst>
                <a:outerShdw blurRad="38100" dist="38100" dir="2700000" algn="tl">
                  <a:srgbClr val="000000">
                    <a:alpha val="43137"/>
                  </a:srgbClr>
                </a:outerShdw>
              </a:effectLst>
            </a:rPr>
            <a:t>2. 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07DB3FF4-6499-41D3-AD4A-8BEBBB9D6F88}" type="presOf" srcId="{E4C7AF03-E2BD-4E48-8DAB-C1261D3D7EA9}" destId="{21D380AD-5D38-4835-9FB5-615E5454C686}" srcOrd="1" destOrd="0" presId="urn:microsoft.com/office/officeart/2005/8/layout/list1"/>
    <dgm:cxn modelId="{6A0B12E1-2784-4522-8ADD-4F9B0553506F}" type="presOf" srcId="{188FD03C-7D6A-4D29-8FCB-9C1383057E36}" destId="{C08F212E-D010-4B1B-884C-243E8BB88BD2}" srcOrd="0" destOrd="0" presId="urn:microsoft.com/office/officeart/2005/8/layout/list1"/>
    <dgm:cxn modelId="{CC30509B-2090-4779-A090-5E693B9CF81A}"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40D90624-53E7-408C-AF81-943596E062B6}" type="presParOf" srcId="{C08F212E-D010-4B1B-884C-243E8BB88BD2}" destId="{A042C0D5-6636-40E8-83EA-703099528EDB}" srcOrd="0" destOrd="0" presId="urn:microsoft.com/office/officeart/2005/8/layout/list1"/>
    <dgm:cxn modelId="{362FF4F4-BFB1-4C0C-98D2-0E61F947EBF9}" type="presParOf" srcId="{A042C0D5-6636-40E8-83EA-703099528EDB}" destId="{03DB856F-DE91-4CA0-AD05-B356DE21BFDC}" srcOrd="0" destOrd="0" presId="urn:microsoft.com/office/officeart/2005/8/layout/list1"/>
    <dgm:cxn modelId="{8ABA8E52-AF5C-4617-BA34-988C27166E88}" type="presParOf" srcId="{A042C0D5-6636-40E8-83EA-703099528EDB}" destId="{21D380AD-5D38-4835-9FB5-615E5454C686}" srcOrd="1" destOrd="0" presId="urn:microsoft.com/office/officeart/2005/8/layout/list1"/>
    <dgm:cxn modelId="{DC68C58A-163C-4351-BA64-87404AEC4E76}" type="presParOf" srcId="{C08F212E-D010-4B1B-884C-243E8BB88BD2}" destId="{E77B3B8A-36B6-4AF7-9D59-DF889FA8E07C}" srcOrd="1" destOrd="0" presId="urn:microsoft.com/office/officeart/2005/8/layout/list1"/>
    <dgm:cxn modelId="{6F83317D-12A0-4BE2-B209-57655E08DB81}"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del sistema produttivo</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689AB522-DD8B-4E86-B327-45DE0B33DED1}" type="presOf" srcId="{72D59079-C521-4525-81A4-701D931A8233}" destId="{9CE9EFE3-4E69-404A-8A99-59388A9E3922}" srcOrd="0" destOrd="0" presId="urn:microsoft.com/office/officeart/2005/8/layout/chevronAccent+Icon"/>
    <dgm:cxn modelId="{B49646EF-25D1-4872-A62F-47266BFD71CE}" type="presOf" srcId="{9AF403A6-2C5C-4F1B-B787-47496D3DBC71}" destId="{639FA514-32E4-4E31-8688-3C040A3F30E9}" srcOrd="0" destOrd="0" presId="urn:microsoft.com/office/officeart/2005/8/layout/chevronAccent+Icon"/>
    <dgm:cxn modelId="{C75C52FA-7B22-403F-92ED-BDCFA26B091A}" type="presParOf" srcId="{639FA514-32E4-4E31-8688-3C040A3F30E9}" destId="{F100BA9B-D4E3-421F-B5D8-42E4C50A115C}" srcOrd="0" destOrd="0" presId="urn:microsoft.com/office/officeart/2005/8/layout/chevronAccent+Icon"/>
    <dgm:cxn modelId="{2720BB50-BA80-410C-BF6E-E3C724DC956D}" type="presParOf" srcId="{F100BA9B-D4E3-421F-B5D8-42E4C50A115C}" destId="{51AD98A5-0898-43D1-8FB1-9AA58104A73C}" srcOrd="0" destOrd="0" presId="urn:microsoft.com/office/officeart/2005/8/layout/chevronAccent+Icon"/>
    <dgm:cxn modelId="{5A9ACA43-DC98-4FE8-9B16-3E533C721CB6}"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21B9E105-4120-4931-9DED-1780A135430E}">
      <dgm:prSet phldrT="[Testo]" custT="1"/>
      <dgm:spPr/>
      <dgm:t>
        <a:bodyPr/>
        <a:lstStyle/>
        <a:p>
          <a:r>
            <a:rPr lang="it-IT" sz="2000" dirty="0" smtClean="0"/>
            <a:t>Impegni e scadenze</a:t>
          </a:r>
          <a:endParaRPr lang="it-IT" sz="2000" dirty="0"/>
        </a:p>
      </dgm:t>
    </dgm:pt>
    <dgm:pt modelId="{2AA545A5-64CB-422B-A8FF-59230265256D}" type="parTrans" cxnId="{99D6C6C3-887C-4B03-95D7-3134CD93B8D3}">
      <dgm:prSet/>
      <dgm:spPr/>
      <dgm:t>
        <a:bodyPr/>
        <a:lstStyle/>
        <a:p>
          <a:endParaRPr lang="it-IT" sz="2800"/>
        </a:p>
      </dgm:t>
    </dgm:pt>
    <dgm:pt modelId="{424A1DCB-DA84-4266-8F48-089C52AB9F7F}" type="sibTrans" cxnId="{99D6C6C3-887C-4B03-95D7-3134CD93B8D3}">
      <dgm:prSet/>
      <dgm:spPr/>
      <dgm:t>
        <a:bodyPr/>
        <a:lstStyle/>
        <a:p>
          <a:endParaRPr lang="it-IT" sz="2800"/>
        </a:p>
      </dgm:t>
    </dgm:pt>
    <dgm:pt modelId="{9AC02135-2974-4C19-8010-CE3C17B01F5F}">
      <dgm:prSet phldrT="[Testo]" custT="1"/>
      <dgm:spPr/>
      <dgm:t>
        <a:bodyPr/>
        <a:lstStyle/>
        <a:p>
          <a:r>
            <a:rPr lang="it-IT" sz="2800" dirty="0" smtClean="0"/>
            <a:t>Condivisione piano di lavoro </a:t>
          </a:r>
          <a:endParaRPr lang="it-IT" sz="2800" dirty="0"/>
        </a:p>
      </dgm:t>
    </dgm:pt>
    <dgm:pt modelId="{0AC746BA-0D67-450D-98DC-FDD762B0CE91}" type="parTrans" cxnId="{B3620282-C1E0-4524-8237-8F82AF3112EC}">
      <dgm:prSet/>
      <dgm:spPr/>
      <dgm:t>
        <a:bodyPr/>
        <a:lstStyle/>
        <a:p>
          <a:endParaRPr lang="it-IT" sz="2800"/>
        </a:p>
      </dgm:t>
    </dgm:pt>
    <dgm:pt modelId="{F59CF7C0-EA04-4357-8732-7FBB15CBCF87}" type="sibTrans" cxnId="{B3620282-C1E0-4524-8237-8F82AF3112EC}">
      <dgm:prSet/>
      <dgm:spPr/>
      <dgm:t>
        <a:bodyPr/>
        <a:lstStyle/>
        <a:p>
          <a:endParaRPr lang="it-IT" sz="2800"/>
        </a:p>
      </dgm:t>
    </dgm:pt>
    <dgm:pt modelId="{E51596C8-E472-4DC4-B223-8F0592DBD454}">
      <dgm:prSet phldrT="[Testo]" custT="1"/>
      <dgm:spPr/>
      <dgm:t>
        <a:bodyPr/>
        <a:lstStyle/>
        <a:p>
          <a:r>
            <a:rPr lang="it-IT" sz="2400" dirty="0" smtClean="0"/>
            <a:t>Format contributi </a:t>
          </a:r>
          <a:endParaRPr lang="it-IT" sz="2400" dirty="0"/>
        </a:p>
      </dgm:t>
    </dgm:pt>
    <dgm:pt modelId="{030957A7-C92B-4510-8D61-EF277EE39BBA}" type="parTrans" cxnId="{80358FFA-CDD6-400D-A452-6631FDAF80A8}">
      <dgm:prSet/>
      <dgm:spPr/>
      <dgm:t>
        <a:bodyPr/>
        <a:lstStyle/>
        <a:p>
          <a:endParaRPr lang="it-IT" sz="2800"/>
        </a:p>
      </dgm:t>
    </dgm:pt>
    <dgm:pt modelId="{5242C4EC-2912-4C8A-B63F-8B02EDD2B286}" type="sibTrans" cxnId="{80358FFA-CDD6-400D-A452-6631FDAF80A8}">
      <dgm:prSet/>
      <dgm:spPr/>
      <dgm:t>
        <a:bodyPr/>
        <a:lstStyle/>
        <a:p>
          <a:endParaRPr lang="it-IT" sz="2800"/>
        </a:p>
      </dgm:t>
    </dgm:pt>
    <dgm:pt modelId="{49BA2AC9-8961-4AAF-BCBF-4F09610E496A}">
      <dgm:prSet phldrT="[Testo]" custT="1"/>
      <dgm:spPr/>
      <dgm:t>
        <a:bodyPr/>
        <a:lstStyle/>
        <a:p>
          <a:r>
            <a:rPr lang="it-IT" sz="2800" dirty="0" smtClean="0"/>
            <a:t>Presentazione e chiarimenti per la compilazione del format</a:t>
          </a:r>
          <a:endParaRPr lang="it-IT" sz="2800" dirty="0"/>
        </a:p>
      </dgm:t>
    </dgm:pt>
    <dgm:pt modelId="{0620C290-809D-4A54-8A77-D640270E55E5}" type="parTrans" cxnId="{F9927A68-4F1F-4497-848F-A1FD62B19E09}">
      <dgm:prSet/>
      <dgm:spPr/>
      <dgm:t>
        <a:bodyPr/>
        <a:lstStyle/>
        <a:p>
          <a:endParaRPr lang="it-IT" sz="2800"/>
        </a:p>
      </dgm:t>
    </dgm:pt>
    <dgm:pt modelId="{7B925CFB-03A6-47B8-84D5-838C5BED5BCE}" type="sibTrans" cxnId="{F9927A68-4F1F-4497-848F-A1FD62B19E09}">
      <dgm:prSet/>
      <dgm:spPr/>
      <dgm:t>
        <a:bodyPr/>
        <a:lstStyle/>
        <a:p>
          <a:endParaRPr lang="it-IT" sz="2800"/>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Forum discussione http://www.innovatoripa.it/groups/strategia-innovazione-sicili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0AFD280F-61D0-4EE9-B52F-FB2446A99276}" type="pres">
      <dgm:prSet presAssocID="{21B9E105-4120-4931-9DED-1780A135430E}" presName="composite" presStyleCnt="0"/>
      <dgm:spPr/>
    </dgm:pt>
    <dgm:pt modelId="{F5867A7D-84CC-4ABF-B0E6-DF9F283923CF}" type="pres">
      <dgm:prSet presAssocID="{21B9E105-4120-4931-9DED-1780A135430E}" presName="parTx" presStyleLbl="alignNode1" presStyleIdx="0" presStyleCnt="3">
        <dgm:presLayoutVars>
          <dgm:chMax val="0"/>
          <dgm:chPref val="0"/>
          <dgm:bulletEnabled val="1"/>
        </dgm:presLayoutVars>
      </dgm:prSet>
      <dgm:spPr/>
      <dgm:t>
        <a:bodyPr/>
        <a:lstStyle/>
        <a:p>
          <a:endParaRPr lang="it-IT"/>
        </a:p>
      </dgm:t>
    </dgm:pt>
    <dgm:pt modelId="{1BD922C1-C6AF-40E3-BC00-4A2C5AD342A7}" type="pres">
      <dgm:prSet presAssocID="{21B9E105-4120-4931-9DED-1780A135430E}" presName="desTx" presStyleLbl="alignAccFollowNode1" presStyleIdx="0" presStyleCnt="3">
        <dgm:presLayoutVars>
          <dgm:bulletEnabled val="1"/>
        </dgm:presLayoutVars>
      </dgm:prSet>
      <dgm:spPr/>
      <dgm:t>
        <a:bodyPr/>
        <a:lstStyle/>
        <a:p>
          <a:endParaRPr lang="it-IT"/>
        </a:p>
      </dgm:t>
    </dgm:pt>
    <dgm:pt modelId="{C617589D-382A-43D9-89AF-4B7973CBDBC0}" type="pres">
      <dgm:prSet presAssocID="{424A1DCB-DA84-4266-8F48-089C52AB9F7F}" presName="space" presStyleCnt="0"/>
      <dgm:spPr/>
    </dgm:pt>
    <dgm:pt modelId="{EF862726-283D-4875-A6F8-9EABAC66B829}" type="pres">
      <dgm:prSet presAssocID="{E51596C8-E472-4DC4-B223-8F0592DBD454}" presName="composite" presStyleCnt="0"/>
      <dgm:spPr/>
    </dgm:pt>
    <dgm:pt modelId="{7F2A340E-59E4-4175-8854-BFDFADCB71D4}" type="pres">
      <dgm:prSet presAssocID="{E51596C8-E472-4DC4-B223-8F0592DBD454}" presName="parTx" presStyleLbl="alignNode1" presStyleIdx="1" presStyleCnt="3">
        <dgm:presLayoutVars>
          <dgm:chMax val="0"/>
          <dgm:chPref val="0"/>
          <dgm:bulletEnabled val="1"/>
        </dgm:presLayoutVars>
      </dgm:prSet>
      <dgm:spPr/>
      <dgm:t>
        <a:bodyPr/>
        <a:lstStyle/>
        <a:p>
          <a:endParaRPr lang="it-IT"/>
        </a:p>
      </dgm:t>
    </dgm:pt>
    <dgm:pt modelId="{94513309-A0E9-4D0F-A5A0-10C1399E3A82}" type="pres">
      <dgm:prSet presAssocID="{E51596C8-E472-4DC4-B223-8F0592DBD454}" presName="desTx" presStyleLbl="alignAccFollowNode1" presStyleIdx="1" presStyleCnt="3">
        <dgm:presLayoutVars>
          <dgm:bulletEnabled val="1"/>
        </dgm:presLayoutVars>
      </dgm:prSet>
      <dgm:spPr/>
      <dgm:t>
        <a:bodyPr/>
        <a:lstStyle/>
        <a:p>
          <a:endParaRPr lang="it-IT"/>
        </a:p>
      </dgm:t>
    </dgm:pt>
    <dgm:pt modelId="{A612A666-3B3F-4DA4-98DB-2C4E364E71E7}" type="pres">
      <dgm:prSet presAssocID="{5242C4EC-2912-4C8A-B63F-8B02EDD2B286}" presName="space" presStyleCnt="0"/>
      <dgm:spPr/>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2" presStyleCnt="3"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2" presStyleCnt="3">
        <dgm:presLayoutVars>
          <dgm:bulletEnabled val="1"/>
        </dgm:presLayoutVars>
      </dgm:prSet>
      <dgm:spPr/>
      <dgm:t>
        <a:bodyPr/>
        <a:lstStyle/>
        <a:p>
          <a:endParaRPr lang="it-IT"/>
        </a:p>
      </dgm:t>
    </dgm:pt>
  </dgm:ptLst>
  <dgm:cxnLst>
    <dgm:cxn modelId="{F9927A68-4F1F-4497-848F-A1FD62B19E09}" srcId="{E51596C8-E472-4DC4-B223-8F0592DBD454}" destId="{49BA2AC9-8961-4AAF-BCBF-4F09610E496A}" srcOrd="0" destOrd="0" parTransId="{0620C290-809D-4A54-8A77-D640270E55E5}" sibTransId="{7B925CFB-03A6-47B8-84D5-838C5BED5BCE}"/>
    <dgm:cxn modelId="{18323BEF-6A56-4242-A976-1BA8079A813D}" srcId="{5CABB013-C727-4154-8D37-4F0D43D878B9}" destId="{08B2197F-4041-498B-A9A2-D922A43DB1B0}" srcOrd="0" destOrd="0" parTransId="{B0805DE2-505B-42BA-B897-F7A71747B9AF}" sibTransId="{DAE6374E-10D7-4AD2-953F-848ABFC5F6E4}"/>
    <dgm:cxn modelId="{6EF033F5-EACA-402B-B398-4773B10B7772}" type="presOf" srcId="{21B9E105-4120-4931-9DED-1780A135430E}" destId="{F5867A7D-84CC-4ABF-B0E6-DF9F283923CF}" srcOrd="0" destOrd="0" presId="urn:microsoft.com/office/officeart/2005/8/layout/hList1"/>
    <dgm:cxn modelId="{8A75E648-4C74-4C14-B7FA-2FBA69FCEAFE}" type="presOf" srcId="{E51596C8-E472-4DC4-B223-8F0592DBD454}" destId="{7F2A340E-59E4-4175-8854-BFDFADCB71D4}" srcOrd="0" destOrd="0" presId="urn:microsoft.com/office/officeart/2005/8/layout/hList1"/>
    <dgm:cxn modelId="{730AC6A6-48F8-446C-BDDC-F987583F9023}" type="presOf" srcId="{E0ED3B49-5A11-4D59-AE32-316830E82720}" destId="{E2BD00C0-7E72-4721-9A6B-E7D2AFFD0DC2}" srcOrd="0" destOrd="0" presId="urn:microsoft.com/office/officeart/2005/8/layout/hList1"/>
    <dgm:cxn modelId="{80358FFA-CDD6-400D-A452-6631FDAF80A8}" srcId="{E0ED3B49-5A11-4D59-AE32-316830E82720}" destId="{E51596C8-E472-4DC4-B223-8F0592DBD454}" srcOrd="1" destOrd="0" parTransId="{030957A7-C92B-4510-8D61-EF277EE39BBA}" sibTransId="{5242C4EC-2912-4C8A-B63F-8B02EDD2B286}"/>
    <dgm:cxn modelId="{E5559B64-028A-4705-A4F3-21A584D759DD}" type="presOf" srcId="{5CABB013-C727-4154-8D37-4F0D43D878B9}" destId="{A49B64DD-D913-4BEC-83CF-83365F2FB831}" srcOrd="0" destOrd="0" presId="urn:microsoft.com/office/officeart/2005/8/layout/hList1"/>
    <dgm:cxn modelId="{B5B61DEE-BEB0-40BC-B767-19081D94DA57}" type="presOf" srcId="{08B2197F-4041-498B-A9A2-D922A43DB1B0}" destId="{5E16153D-110E-4957-9859-E9281CCD6FF8}" srcOrd="0" destOrd="0" presId="urn:microsoft.com/office/officeart/2005/8/layout/hList1"/>
    <dgm:cxn modelId="{E78B13C4-6749-451D-B158-EA8545CB6490}" srcId="{E0ED3B49-5A11-4D59-AE32-316830E82720}" destId="{5CABB013-C727-4154-8D37-4F0D43D878B9}" srcOrd="2" destOrd="0" parTransId="{64295AD3-2413-4061-A8D8-E59D147D6AE3}" sibTransId="{4294BCD3-B897-4FAE-89BE-84A6ABAD3262}"/>
    <dgm:cxn modelId="{2FDB6018-D0D8-4CEE-9831-3E2FEA78502C}" type="presOf" srcId="{9AC02135-2974-4C19-8010-CE3C17B01F5F}" destId="{1BD922C1-C6AF-40E3-BC00-4A2C5AD342A7}" srcOrd="0" destOrd="0" presId="urn:microsoft.com/office/officeart/2005/8/layout/hList1"/>
    <dgm:cxn modelId="{B3620282-C1E0-4524-8237-8F82AF3112EC}" srcId="{21B9E105-4120-4931-9DED-1780A135430E}" destId="{9AC02135-2974-4C19-8010-CE3C17B01F5F}" srcOrd="0" destOrd="0" parTransId="{0AC746BA-0D67-450D-98DC-FDD762B0CE91}" sibTransId="{F59CF7C0-EA04-4357-8732-7FBB15CBCF87}"/>
    <dgm:cxn modelId="{99D6C6C3-887C-4B03-95D7-3134CD93B8D3}" srcId="{E0ED3B49-5A11-4D59-AE32-316830E82720}" destId="{21B9E105-4120-4931-9DED-1780A135430E}" srcOrd="0" destOrd="0" parTransId="{2AA545A5-64CB-422B-A8FF-59230265256D}" sibTransId="{424A1DCB-DA84-4266-8F48-089C52AB9F7F}"/>
    <dgm:cxn modelId="{5D652BA6-1E15-46D9-AE56-1F33B9E60832}" type="presOf" srcId="{49BA2AC9-8961-4AAF-BCBF-4F09610E496A}" destId="{94513309-A0E9-4D0F-A5A0-10C1399E3A82}" srcOrd="0" destOrd="0" presId="urn:microsoft.com/office/officeart/2005/8/layout/hList1"/>
    <dgm:cxn modelId="{30C2D8FC-3456-4FEC-8B79-8A22EA8DA267}" type="presParOf" srcId="{E2BD00C0-7E72-4721-9A6B-E7D2AFFD0DC2}" destId="{0AFD280F-61D0-4EE9-B52F-FB2446A99276}" srcOrd="0" destOrd="0" presId="urn:microsoft.com/office/officeart/2005/8/layout/hList1"/>
    <dgm:cxn modelId="{537D976B-759D-408E-957A-DDC894DE2559}" type="presParOf" srcId="{0AFD280F-61D0-4EE9-B52F-FB2446A99276}" destId="{F5867A7D-84CC-4ABF-B0E6-DF9F283923CF}" srcOrd="0" destOrd="0" presId="urn:microsoft.com/office/officeart/2005/8/layout/hList1"/>
    <dgm:cxn modelId="{3AE8F095-D636-4421-8F80-1C122856ADF3}" type="presParOf" srcId="{0AFD280F-61D0-4EE9-B52F-FB2446A99276}" destId="{1BD922C1-C6AF-40E3-BC00-4A2C5AD342A7}" srcOrd="1" destOrd="0" presId="urn:microsoft.com/office/officeart/2005/8/layout/hList1"/>
    <dgm:cxn modelId="{9DC37F3C-07E0-4E2B-95F8-03B0E0DE2159}" type="presParOf" srcId="{E2BD00C0-7E72-4721-9A6B-E7D2AFFD0DC2}" destId="{C617589D-382A-43D9-89AF-4B7973CBDBC0}" srcOrd="1" destOrd="0" presId="urn:microsoft.com/office/officeart/2005/8/layout/hList1"/>
    <dgm:cxn modelId="{1391A1D2-45B5-4531-92F7-43F5B34E1363}" type="presParOf" srcId="{E2BD00C0-7E72-4721-9A6B-E7D2AFFD0DC2}" destId="{EF862726-283D-4875-A6F8-9EABAC66B829}" srcOrd="2" destOrd="0" presId="urn:microsoft.com/office/officeart/2005/8/layout/hList1"/>
    <dgm:cxn modelId="{315B7335-928A-44E3-AED6-E392CFCE948C}" type="presParOf" srcId="{EF862726-283D-4875-A6F8-9EABAC66B829}" destId="{7F2A340E-59E4-4175-8854-BFDFADCB71D4}" srcOrd="0" destOrd="0" presId="urn:microsoft.com/office/officeart/2005/8/layout/hList1"/>
    <dgm:cxn modelId="{343CF710-2AD5-4EB9-8736-56563533FA0A}" type="presParOf" srcId="{EF862726-283D-4875-A6F8-9EABAC66B829}" destId="{94513309-A0E9-4D0F-A5A0-10C1399E3A82}" srcOrd="1" destOrd="0" presId="urn:microsoft.com/office/officeart/2005/8/layout/hList1"/>
    <dgm:cxn modelId="{C497F174-F32F-496E-BA54-7FEAC770AC55}" type="presParOf" srcId="{E2BD00C0-7E72-4721-9A6B-E7D2AFFD0DC2}" destId="{A612A666-3B3F-4DA4-98DB-2C4E364E71E7}" srcOrd="3" destOrd="0" presId="urn:microsoft.com/office/officeart/2005/8/layout/hList1"/>
    <dgm:cxn modelId="{560B9916-8300-491F-9DE1-B995F146C16C}" type="presParOf" srcId="{E2BD00C0-7E72-4721-9A6B-E7D2AFFD0DC2}" destId="{AE79901A-994D-4900-BA52-E3CCDF157C1A}" srcOrd="4" destOrd="0" presId="urn:microsoft.com/office/officeart/2005/8/layout/hList1"/>
    <dgm:cxn modelId="{F9E3EE4A-5A3A-4C69-9E6B-FA9C8EDBF58D}" type="presParOf" srcId="{AE79901A-994D-4900-BA52-E3CCDF157C1A}" destId="{A49B64DD-D913-4BEC-83CF-83365F2FB831}" srcOrd="0" destOrd="0" presId="urn:microsoft.com/office/officeart/2005/8/layout/hList1"/>
    <dgm:cxn modelId="{B1890F05-B0F3-435B-AB76-32B8BAFBBEAE}"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Comunità su </a:t>
          </a:r>
          <a:r>
            <a:rPr lang="it-IT" sz="2400" dirty="0" err="1" smtClean="0"/>
            <a:t>InnovatoriP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F80293C5-9B12-4F73-B1FC-5341342B0FA2}">
      <dgm:prSet phldrT="[Testo]" custT="1"/>
      <dgm:spPr/>
      <dgm:t>
        <a:bodyPr/>
        <a:lstStyle/>
        <a:p>
          <a:r>
            <a:rPr lang="it-IT" sz="2400" dirty="0" smtClean="0"/>
            <a:t>Download documenti (Slide tavolo, Slide Esperto, Piano lavoro, Format contributo)</a:t>
          </a:r>
          <a:endParaRPr lang="it-IT" sz="2400" dirty="0"/>
        </a:p>
      </dgm:t>
    </dgm:pt>
    <dgm:pt modelId="{86557904-AB89-4A2B-9ACB-1ABB69BAB086}" type="parTrans" cxnId="{845A9FBB-9AB1-4EEA-9BAA-EFA493E8D780}">
      <dgm:prSet/>
      <dgm:spPr/>
      <dgm:t>
        <a:bodyPr/>
        <a:lstStyle/>
        <a:p>
          <a:endParaRPr lang="it-IT"/>
        </a:p>
      </dgm:t>
    </dgm:pt>
    <dgm:pt modelId="{75E80B86-89AF-4F7B-895E-991E6D78954B}" type="sibTrans" cxnId="{845A9FBB-9AB1-4EEA-9BAA-EFA493E8D780}">
      <dgm:prSet/>
      <dgm:spPr/>
      <dgm:t>
        <a:bodyPr/>
        <a:lstStyle/>
        <a:p>
          <a:endParaRPr lang="it-IT"/>
        </a:p>
      </dgm:t>
    </dgm:pt>
    <dgm:pt modelId="{0C1D7CF0-B1DE-4AFF-9EEC-68AA94BE4894}">
      <dgm:prSet phldrT="[Testo]" custT="1"/>
      <dgm:spPr/>
      <dgm:t>
        <a:bodyPr/>
        <a:lstStyle/>
        <a:p>
          <a:r>
            <a:rPr lang="it-IT" sz="2400" dirty="0" smtClean="0"/>
            <a:t>Caricamento contributo</a:t>
          </a:r>
          <a:endParaRPr lang="it-IT" sz="2400" dirty="0"/>
        </a:p>
      </dgm:t>
    </dgm:pt>
    <dgm:pt modelId="{9BC87F8D-6A47-4474-99E8-E68DB4ACF69B}" type="parTrans" cxnId="{366122DF-9F50-4282-A85F-CBACCB4E77F0}">
      <dgm:prSet/>
      <dgm:spPr/>
      <dgm:t>
        <a:bodyPr/>
        <a:lstStyle/>
        <a:p>
          <a:endParaRPr lang="it-IT"/>
        </a:p>
      </dgm:t>
    </dgm:pt>
    <dgm:pt modelId="{CB663712-A2F8-4FD2-80C0-D9CE44413293}" type="sibTrans" cxnId="{366122DF-9F50-4282-A85F-CBACCB4E77F0}">
      <dgm:prSet/>
      <dgm:spPr/>
      <dgm:t>
        <a:bodyPr/>
        <a:lstStyle/>
        <a:p>
          <a:endParaRPr lang="it-IT"/>
        </a:p>
      </dgm:t>
    </dgm:pt>
    <dgm:pt modelId="{31FA59E0-FC20-404A-ADDC-AA8009CE9774}">
      <dgm:prSet phldrT="[Testo]" custT="1"/>
      <dgm:spPr/>
      <dgm:t>
        <a:bodyPr/>
        <a:lstStyle/>
        <a:p>
          <a:r>
            <a:rPr lang="it-IT" sz="2400" dirty="0" smtClean="0"/>
            <a:t>Invio commenti </a:t>
          </a:r>
          <a:endParaRPr lang="it-IT" sz="2400" dirty="0"/>
        </a:p>
      </dgm:t>
    </dgm:pt>
    <dgm:pt modelId="{EAD2CDFC-DDB2-48BC-94DC-D06822F89299}" type="parTrans" cxnId="{E085E776-2789-4BD5-8786-927DC8E3F84D}">
      <dgm:prSet/>
      <dgm:spPr/>
      <dgm:t>
        <a:bodyPr/>
        <a:lstStyle/>
        <a:p>
          <a:endParaRPr lang="it-IT"/>
        </a:p>
      </dgm:t>
    </dgm:pt>
    <dgm:pt modelId="{8AFAA520-302D-49F3-B288-558F421D4A7A}" type="sibTrans" cxnId="{E085E776-2789-4BD5-8786-927DC8E3F84D}">
      <dgm:prSet/>
      <dgm:spPr/>
      <dgm:t>
        <a:bodyPr/>
        <a:lstStyle/>
        <a:p>
          <a:endParaRPr lang="it-IT"/>
        </a:p>
      </dgm:t>
    </dgm:pt>
    <dgm:pt modelId="{8E21086A-A768-4C12-A6A6-E59090BE6CDF}">
      <dgm:prSet phldrT="[Testo]" custT="1"/>
      <dgm:spPr/>
      <dgm:t>
        <a:bodyPr/>
        <a:lstStyle/>
        <a:p>
          <a:r>
            <a:rPr lang="it-IT" sz="2400" dirty="0" smtClean="0"/>
            <a:t>E-mail invio allegati: strategia.innovazione@regione.sicilia.it</a:t>
          </a:r>
          <a:endParaRPr lang="it-IT" sz="2400" dirty="0"/>
        </a:p>
      </dgm:t>
    </dgm:pt>
    <dgm:pt modelId="{D239408D-DDB5-4593-9494-9EBCE812E12E}" type="parTrans" cxnId="{2E63C216-43E1-4249-A7DE-F2A32E292EB2}">
      <dgm:prSet/>
      <dgm:spPr/>
      <dgm:t>
        <a:bodyPr/>
        <a:lstStyle/>
        <a:p>
          <a:endParaRPr lang="it-IT"/>
        </a:p>
      </dgm:t>
    </dgm:pt>
    <dgm:pt modelId="{974C8319-E5DA-430F-8ACE-403249911E01}" type="sibTrans" cxnId="{2E63C216-43E1-4249-A7DE-F2A32E292EB2}">
      <dgm:prSet/>
      <dgm:spPr/>
      <dgm:t>
        <a:bodyPr/>
        <a:lstStyle/>
        <a:p>
          <a:endParaRPr lang="it-IT"/>
        </a:p>
      </dgm:t>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0" presStyleCnt="1" custScaleY="100000"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0" presStyleCnt="1">
        <dgm:presLayoutVars>
          <dgm:bulletEnabled val="1"/>
        </dgm:presLayoutVars>
      </dgm:prSet>
      <dgm:spPr/>
      <dgm:t>
        <a:bodyPr/>
        <a:lstStyle/>
        <a:p>
          <a:endParaRPr lang="it-IT"/>
        </a:p>
      </dgm:t>
    </dgm:pt>
  </dgm:ptLst>
  <dgm:cxnLst>
    <dgm:cxn modelId="{18323BEF-6A56-4242-A976-1BA8079A813D}" srcId="{5CABB013-C727-4154-8D37-4F0D43D878B9}" destId="{08B2197F-4041-498B-A9A2-D922A43DB1B0}" srcOrd="0" destOrd="0" parTransId="{B0805DE2-505B-42BA-B897-F7A71747B9AF}" sibTransId="{DAE6374E-10D7-4AD2-953F-848ABFC5F6E4}"/>
    <dgm:cxn modelId="{2E63C216-43E1-4249-A7DE-F2A32E292EB2}" srcId="{5CABB013-C727-4154-8D37-4F0D43D878B9}" destId="{8E21086A-A768-4C12-A6A6-E59090BE6CDF}" srcOrd="4" destOrd="0" parTransId="{D239408D-DDB5-4593-9494-9EBCE812E12E}" sibTransId="{974C8319-E5DA-430F-8ACE-403249911E01}"/>
    <dgm:cxn modelId="{693B50D5-AF1C-4A23-9923-2AB20DF13B1B}" type="presOf" srcId="{5CABB013-C727-4154-8D37-4F0D43D878B9}" destId="{A49B64DD-D913-4BEC-83CF-83365F2FB831}" srcOrd="0" destOrd="0" presId="urn:microsoft.com/office/officeart/2005/8/layout/hList1"/>
    <dgm:cxn modelId="{98FE587F-7660-40BE-8AE9-E76C877B004C}" type="presOf" srcId="{08B2197F-4041-498B-A9A2-D922A43DB1B0}" destId="{5E16153D-110E-4957-9859-E9281CCD6FF8}" srcOrd="0" destOrd="0" presId="urn:microsoft.com/office/officeart/2005/8/layout/hList1"/>
    <dgm:cxn modelId="{4B789555-3B19-4B06-B4CC-AFE414C25AD4}" type="presOf" srcId="{31FA59E0-FC20-404A-ADDC-AA8009CE9774}" destId="{5E16153D-110E-4957-9859-E9281CCD6FF8}" srcOrd="0" destOrd="3" presId="urn:microsoft.com/office/officeart/2005/8/layout/hList1"/>
    <dgm:cxn modelId="{DF6C0CB8-DB84-4557-94DA-8D8C615EC769}" type="presOf" srcId="{8E21086A-A768-4C12-A6A6-E59090BE6CDF}" destId="{5E16153D-110E-4957-9859-E9281CCD6FF8}" srcOrd="0" destOrd="4" presId="urn:microsoft.com/office/officeart/2005/8/layout/hList1"/>
    <dgm:cxn modelId="{DE9B4517-9CAD-458E-A88D-F39C849AD060}" type="presOf" srcId="{0C1D7CF0-B1DE-4AFF-9EEC-68AA94BE4894}" destId="{5E16153D-110E-4957-9859-E9281CCD6FF8}" srcOrd="0" destOrd="2" presId="urn:microsoft.com/office/officeart/2005/8/layout/hList1"/>
    <dgm:cxn modelId="{366122DF-9F50-4282-A85F-CBACCB4E77F0}" srcId="{5CABB013-C727-4154-8D37-4F0D43D878B9}" destId="{0C1D7CF0-B1DE-4AFF-9EEC-68AA94BE4894}" srcOrd="2" destOrd="0" parTransId="{9BC87F8D-6A47-4474-99E8-E68DB4ACF69B}" sibTransId="{CB663712-A2F8-4FD2-80C0-D9CE44413293}"/>
    <dgm:cxn modelId="{E78B13C4-6749-451D-B158-EA8545CB6490}" srcId="{E0ED3B49-5A11-4D59-AE32-316830E82720}" destId="{5CABB013-C727-4154-8D37-4F0D43D878B9}" srcOrd="0" destOrd="0" parTransId="{64295AD3-2413-4061-A8D8-E59D147D6AE3}" sibTransId="{4294BCD3-B897-4FAE-89BE-84A6ABAD3262}"/>
    <dgm:cxn modelId="{2003FA81-6A40-4775-909F-6272F22A6E82}" type="presOf" srcId="{F80293C5-9B12-4F73-B1FC-5341342B0FA2}" destId="{5E16153D-110E-4957-9859-E9281CCD6FF8}" srcOrd="0" destOrd="1" presId="urn:microsoft.com/office/officeart/2005/8/layout/hList1"/>
    <dgm:cxn modelId="{E085E776-2789-4BD5-8786-927DC8E3F84D}" srcId="{5CABB013-C727-4154-8D37-4F0D43D878B9}" destId="{31FA59E0-FC20-404A-ADDC-AA8009CE9774}" srcOrd="3" destOrd="0" parTransId="{EAD2CDFC-DDB2-48BC-94DC-D06822F89299}" sibTransId="{8AFAA520-302D-49F3-B288-558F421D4A7A}"/>
    <dgm:cxn modelId="{845A9FBB-9AB1-4EEA-9BAA-EFA493E8D780}" srcId="{5CABB013-C727-4154-8D37-4F0D43D878B9}" destId="{F80293C5-9B12-4F73-B1FC-5341342B0FA2}" srcOrd="1" destOrd="0" parTransId="{86557904-AB89-4A2B-9ACB-1ABB69BAB086}" sibTransId="{75E80B86-89AF-4F7B-895E-991E6D78954B}"/>
    <dgm:cxn modelId="{9BCB8AB9-F993-402F-B98B-8C306415FA61}" type="presOf" srcId="{E0ED3B49-5A11-4D59-AE32-316830E82720}" destId="{E2BD00C0-7E72-4721-9A6B-E7D2AFFD0DC2}" srcOrd="0" destOrd="0" presId="urn:microsoft.com/office/officeart/2005/8/layout/hList1"/>
    <dgm:cxn modelId="{BFB1EDE9-2E8C-41E7-A59C-FD4F520FBA16}" type="presParOf" srcId="{E2BD00C0-7E72-4721-9A6B-E7D2AFFD0DC2}" destId="{AE79901A-994D-4900-BA52-E3CCDF157C1A}" srcOrd="0" destOrd="0" presId="urn:microsoft.com/office/officeart/2005/8/layout/hList1"/>
    <dgm:cxn modelId="{0F90F278-41C6-422A-A1BD-9469F3597F30}" type="presParOf" srcId="{AE79901A-994D-4900-BA52-E3CCDF157C1A}" destId="{A49B64DD-D913-4BEC-83CF-83365F2FB831}" srcOrd="0" destOrd="0" presId="urn:microsoft.com/office/officeart/2005/8/layout/hList1"/>
    <dgm:cxn modelId="{BF82E174-C93E-4664-BCB4-6547757B1077}"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96C8A48C-C5AF-46B5-9B5D-144C81DD0D8F}" srcId="{43075584-0A09-4F92-A3EE-4594CC46FEDC}" destId="{4DBD1FB0-9DEC-4BF1-BDFE-C56F2660AE47}" srcOrd="0" destOrd="0" parTransId="{977500EF-1C8F-4ABA-A49C-70BA86BBB338}" sibTransId="{95AA54F3-60A7-4C69-9BA0-A132406858AF}"/>
    <dgm:cxn modelId="{F4DBE731-B2F2-4975-929F-488A1FED9F36}" type="presOf" srcId="{4DBD1FB0-9DEC-4BF1-BDFE-C56F2660AE47}" destId="{2E4F97BB-80AE-4B89-8B32-FB05A53BD028}" srcOrd="0" destOrd="0" presId="urn:microsoft.com/office/officeart/2008/layout/LinedList"/>
    <dgm:cxn modelId="{903C0A25-712E-44E4-88E3-38983855899B}" type="presOf" srcId="{43075584-0A09-4F92-A3EE-4594CC46FEDC}" destId="{D7EA6325-6413-4438-83E4-6701E2C57717}" srcOrd="0" destOrd="0" presId="urn:microsoft.com/office/officeart/2008/layout/LinedList"/>
    <dgm:cxn modelId="{A02B8E6B-4D3B-45C1-B9CA-903D47705DC4}" type="presParOf" srcId="{D7EA6325-6413-4438-83E4-6701E2C57717}" destId="{C53CC59A-ED65-4B0D-9470-3F18E593A142}" srcOrd="0" destOrd="0" presId="urn:microsoft.com/office/officeart/2008/layout/LinedList"/>
    <dgm:cxn modelId="{E29E8D41-CFEA-478C-925D-E36FB610530C}" type="presParOf" srcId="{D7EA6325-6413-4438-83E4-6701E2C57717}" destId="{CCBE2F35-B449-4304-A4B7-EB4A0CE90FAA}" srcOrd="1" destOrd="0" presId="urn:microsoft.com/office/officeart/2008/layout/LinedList"/>
    <dgm:cxn modelId="{6707A842-DA6D-4155-BA76-D9F666480CD8}" type="presParOf" srcId="{CCBE2F35-B449-4304-A4B7-EB4A0CE90FAA}" destId="{2E4F97BB-80AE-4B89-8B32-FB05A53BD028}" srcOrd="0" destOrd="0" presId="urn:microsoft.com/office/officeart/2008/layout/LinedList"/>
    <dgm:cxn modelId="{296BA695-1B79-4847-BB73-092F5956FE10}"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614299B-2072-44D6-A8AE-2578D07D4A7F}" type="doc">
      <dgm:prSet loTypeId="urn:microsoft.com/office/officeart/2005/8/layout/cycle8" loCatId="cycle" qsTypeId="urn:microsoft.com/office/officeart/2005/8/quickstyle/3d3" qsCatId="3D" csTypeId="urn:microsoft.com/office/officeart/2005/8/colors/accent1_2" csCatId="accent1" phldr="1"/>
      <dgm:spPr/>
      <dgm:t>
        <a:bodyPr/>
        <a:lstStyle/>
        <a:p>
          <a:endParaRPr lang="it-IT"/>
        </a:p>
      </dgm:t>
    </dgm:pt>
    <dgm:pt modelId="{5A4119CE-9133-4521-82CC-5CDF3CB50322}">
      <dgm:prSet phldrT="[Testo]"/>
      <dgm:spPr/>
      <dgm:t>
        <a:bodyPr/>
        <a:lstStyle/>
        <a:p>
          <a:r>
            <a:rPr lang="it-IT" dirty="0" smtClean="0"/>
            <a:t>Avvio</a:t>
          </a:r>
          <a:endParaRPr lang="it-IT" dirty="0"/>
        </a:p>
      </dgm:t>
    </dgm:pt>
    <dgm:pt modelId="{1AD96800-53D1-42FA-8BB9-CB8EA57457DA}" type="parTrans" cxnId="{2BFF39B4-673E-415C-BEDA-13B11218ED14}">
      <dgm:prSet/>
      <dgm:spPr/>
      <dgm:t>
        <a:bodyPr/>
        <a:lstStyle/>
        <a:p>
          <a:endParaRPr lang="it-IT"/>
        </a:p>
      </dgm:t>
    </dgm:pt>
    <dgm:pt modelId="{414911D7-F683-448B-BAFC-973B6F7BAE8C}" type="sibTrans" cxnId="{2BFF39B4-673E-415C-BEDA-13B11218ED14}">
      <dgm:prSet/>
      <dgm:spPr/>
      <dgm:t>
        <a:bodyPr/>
        <a:lstStyle/>
        <a:p>
          <a:endParaRPr lang="it-IT"/>
        </a:p>
      </dgm:t>
    </dgm:pt>
    <dgm:pt modelId="{A38EE3BB-1857-4162-BD97-E4F09BD3E9D5}">
      <dgm:prSet phldrT="[Testo]"/>
      <dgm:spPr/>
      <dgm:t>
        <a:bodyPr/>
        <a:lstStyle/>
        <a:p>
          <a:r>
            <a:rPr lang="it-IT" dirty="0" smtClean="0"/>
            <a:t>Elaborazione ed invio contributi</a:t>
          </a:r>
          <a:endParaRPr lang="it-IT" dirty="0"/>
        </a:p>
      </dgm:t>
    </dgm:pt>
    <dgm:pt modelId="{960ED48D-7B66-4707-B779-3BEA4CE1F7D8}" type="parTrans" cxnId="{E5CD6CE0-EBAD-43B4-9A20-8F674AA6C3DC}">
      <dgm:prSet/>
      <dgm:spPr/>
      <dgm:t>
        <a:bodyPr/>
        <a:lstStyle/>
        <a:p>
          <a:endParaRPr lang="it-IT"/>
        </a:p>
      </dgm:t>
    </dgm:pt>
    <dgm:pt modelId="{CE7B6273-0C49-4549-9983-578881C51358}" type="sibTrans" cxnId="{E5CD6CE0-EBAD-43B4-9A20-8F674AA6C3DC}">
      <dgm:prSet/>
      <dgm:spPr/>
      <dgm:t>
        <a:bodyPr/>
        <a:lstStyle/>
        <a:p>
          <a:endParaRPr lang="it-IT"/>
        </a:p>
      </dgm:t>
    </dgm:pt>
    <dgm:pt modelId="{8129AC6B-B953-4C5D-96AC-DB9331523478}">
      <dgm:prSet phldrT="[Testo]"/>
      <dgm:spPr/>
      <dgm:t>
        <a:bodyPr/>
        <a:lstStyle/>
        <a:p>
          <a:r>
            <a:rPr lang="it-IT" dirty="0" smtClean="0"/>
            <a:t>Raccolta e sistematizzazione contributi</a:t>
          </a:r>
          <a:endParaRPr lang="it-IT" dirty="0"/>
        </a:p>
      </dgm:t>
    </dgm:pt>
    <dgm:pt modelId="{FB89B788-C656-4FB1-938D-A527B2F1AC8D}" type="parTrans" cxnId="{7245D303-6344-451B-A6A1-E18A65A092FE}">
      <dgm:prSet/>
      <dgm:spPr/>
      <dgm:t>
        <a:bodyPr/>
        <a:lstStyle/>
        <a:p>
          <a:endParaRPr lang="it-IT"/>
        </a:p>
      </dgm:t>
    </dgm:pt>
    <dgm:pt modelId="{4AD9F207-EEF0-4CB8-9D87-6E9A4CF0E676}" type="sibTrans" cxnId="{7245D303-6344-451B-A6A1-E18A65A092FE}">
      <dgm:prSet/>
      <dgm:spPr/>
      <dgm:t>
        <a:bodyPr/>
        <a:lstStyle/>
        <a:p>
          <a:endParaRPr lang="it-IT"/>
        </a:p>
      </dgm:t>
    </dgm:pt>
    <dgm:pt modelId="{D8ECAAE4-BB06-4247-BFF9-DE9C767B500B}">
      <dgm:prSet phldrT="[Testo]"/>
      <dgm:spPr/>
      <dgm:t>
        <a:bodyPr/>
        <a:lstStyle/>
        <a:p>
          <a:r>
            <a:rPr lang="it-IT" dirty="0" smtClean="0"/>
            <a:t>Restituzione e condivisione</a:t>
          </a:r>
          <a:endParaRPr lang="it-IT" dirty="0"/>
        </a:p>
      </dgm:t>
    </dgm:pt>
    <dgm:pt modelId="{EE7AFA6A-9065-4FEC-BC19-2F72BA31E000}" type="parTrans" cxnId="{7DE1D404-EEC6-4E91-A3B2-4D6973BE88A1}">
      <dgm:prSet/>
      <dgm:spPr/>
      <dgm:t>
        <a:bodyPr/>
        <a:lstStyle/>
        <a:p>
          <a:endParaRPr lang="it-IT"/>
        </a:p>
      </dgm:t>
    </dgm:pt>
    <dgm:pt modelId="{82EF2C73-0944-4DE5-9C97-BBD2A70FBC63}" type="sibTrans" cxnId="{7DE1D404-EEC6-4E91-A3B2-4D6973BE88A1}">
      <dgm:prSet/>
      <dgm:spPr/>
      <dgm:t>
        <a:bodyPr/>
        <a:lstStyle/>
        <a:p>
          <a:endParaRPr lang="it-IT"/>
        </a:p>
      </dgm:t>
    </dgm:pt>
    <dgm:pt modelId="{9B2DF850-6F39-4C7B-8F9C-4FB9B6127052}" type="pres">
      <dgm:prSet presAssocID="{C614299B-2072-44D6-A8AE-2578D07D4A7F}" presName="compositeShape" presStyleCnt="0">
        <dgm:presLayoutVars>
          <dgm:chMax val="7"/>
          <dgm:dir/>
          <dgm:resizeHandles val="exact"/>
        </dgm:presLayoutVars>
      </dgm:prSet>
      <dgm:spPr/>
      <dgm:t>
        <a:bodyPr/>
        <a:lstStyle/>
        <a:p>
          <a:endParaRPr lang="it-IT"/>
        </a:p>
      </dgm:t>
    </dgm:pt>
    <dgm:pt modelId="{B21CCAE3-4E5B-4AD4-98CF-C84CFD4B2B61}" type="pres">
      <dgm:prSet presAssocID="{C614299B-2072-44D6-A8AE-2578D07D4A7F}" presName="wedge1" presStyleLbl="node1" presStyleIdx="0" presStyleCnt="4"/>
      <dgm:spPr/>
      <dgm:t>
        <a:bodyPr/>
        <a:lstStyle/>
        <a:p>
          <a:endParaRPr lang="it-IT"/>
        </a:p>
      </dgm:t>
    </dgm:pt>
    <dgm:pt modelId="{C4E6D097-CC03-48D3-857D-DC2A4EA423B4}" type="pres">
      <dgm:prSet presAssocID="{C614299B-2072-44D6-A8AE-2578D07D4A7F}" presName="dummy1a" presStyleCnt="0"/>
      <dgm:spPr/>
    </dgm:pt>
    <dgm:pt modelId="{C40D7312-AB5A-4228-9936-8EA64F9B4BFD}" type="pres">
      <dgm:prSet presAssocID="{C614299B-2072-44D6-A8AE-2578D07D4A7F}" presName="dummy1b" presStyleCnt="0"/>
      <dgm:spPr/>
    </dgm:pt>
    <dgm:pt modelId="{BED3001F-674E-470B-8B2C-07271289107A}" type="pres">
      <dgm:prSet presAssocID="{C614299B-2072-44D6-A8AE-2578D07D4A7F}" presName="wedge1Tx" presStyleLbl="node1" presStyleIdx="0" presStyleCnt="4">
        <dgm:presLayoutVars>
          <dgm:chMax val="0"/>
          <dgm:chPref val="0"/>
          <dgm:bulletEnabled val="1"/>
        </dgm:presLayoutVars>
      </dgm:prSet>
      <dgm:spPr/>
      <dgm:t>
        <a:bodyPr/>
        <a:lstStyle/>
        <a:p>
          <a:endParaRPr lang="it-IT"/>
        </a:p>
      </dgm:t>
    </dgm:pt>
    <dgm:pt modelId="{F0F6EC78-48FE-4338-9470-51C5945E4C5A}" type="pres">
      <dgm:prSet presAssocID="{C614299B-2072-44D6-A8AE-2578D07D4A7F}" presName="wedge2" presStyleLbl="node1" presStyleIdx="1" presStyleCnt="4"/>
      <dgm:spPr/>
      <dgm:t>
        <a:bodyPr/>
        <a:lstStyle/>
        <a:p>
          <a:endParaRPr lang="it-IT"/>
        </a:p>
      </dgm:t>
    </dgm:pt>
    <dgm:pt modelId="{FE710D49-71F8-4120-B031-08BEE462CD9D}" type="pres">
      <dgm:prSet presAssocID="{C614299B-2072-44D6-A8AE-2578D07D4A7F}" presName="dummy2a" presStyleCnt="0"/>
      <dgm:spPr/>
    </dgm:pt>
    <dgm:pt modelId="{5B7D1FFF-ED52-4A71-A480-94D2B8A2FE6C}" type="pres">
      <dgm:prSet presAssocID="{C614299B-2072-44D6-A8AE-2578D07D4A7F}" presName="dummy2b" presStyleCnt="0"/>
      <dgm:spPr/>
    </dgm:pt>
    <dgm:pt modelId="{8F5469E7-585B-41BF-B0B9-432DEE54B9D7}" type="pres">
      <dgm:prSet presAssocID="{C614299B-2072-44D6-A8AE-2578D07D4A7F}" presName="wedge2Tx" presStyleLbl="node1" presStyleIdx="1" presStyleCnt="4">
        <dgm:presLayoutVars>
          <dgm:chMax val="0"/>
          <dgm:chPref val="0"/>
          <dgm:bulletEnabled val="1"/>
        </dgm:presLayoutVars>
      </dgm:prSet>
      <dgm:spPr/>
      <dgm:t>
        <a:bodyPr/>
        <a:lstStyle/>
        <a:p>
          <a:endParaRPr lang="it-IT"/>
        </a:p>
      </dgm:t>
    </dgm:pt>
    <dgm:pt modelId="{6474684D-7762-4CD1-A3B4-D72EED99A80F}" type="pres">
      <dgm:prSet presAssocID="{C614299B-2072-44D6-A8AE-2578D07D4A7F}" presName="wedge3" presStyleLbl="node1" presStyleIdx="2" presStyleCnt="4"/>
      <dgm:spPr/>
      <dgm:t>
        <a:bodyPr/>
        <a:lstStyle/>
        <a:p>
          <a:endParaRPr lang="it-IT"/>
        </a:p>
      </dgm:t>
    </dgm:pt>
    <dgm:pt modelId="{C95F34F1-DD72-4853-B47C-7B5756226F78}" type="pres">
      <dgm:prSet presAssocID="{C614299B-2072-44D6-A8AE-2578D07D4A7F}" presName="dummy3a" presStyleCnt="0"/>
      <dgm:spPr/>
    </dgm:pt>
    <dgm:pt modelId="{C5216591-466C-44C9-89A5-685B16ABD408}" type="pres">
      <dgm:prSet presAssocID="{C614299B-2072-44D6-A8AE-2578D07D4A7F}" presName="dummy3b" presStyleCnt="0"/>
      <dgm:spPr/>
    </dgm:pt>
    <dgm:pt modelId="{C15382B8-6863-47C3-BF10-11F61B0D5D87}" type="pres">
      <dgm:prSet presAssocID="{C614299B-2072-44D6-A8AE-2578D07D4A7F}" presName="wedge3Tx" presStyleLbl="node1" presStyleIdx="2" presStyleCnt="4">
        <dgm:presLayoutVars>
          <dgm:chMax val="0"/>
          <dgm:chPref val="0"/>
          <dgm:bulletEnabled val="1"/>
        </dgm:presLayoutVars>
      </dgm:prSet>
      <dgm:spPr/>
      <dgm:t>
        <a:bodyPr/>
        <a:lstStyle/>
        <a:p>
          <a:endParaRPr lang="it-IT"/>
        </a:p>
      </dgm:t>
    </dgm:pt>
    <dgm:pt modelId="{2CD97BB5-9B57-47E0-A5C0-4486B247297F}" type="pres">
      <dgm:prSet presAssocID="{C614299B-2072-44D6-A8AE-2578D07D4A7F}" presName="wedge4" presStyleLbl="node1" presStyleIdx="3" presStyleCnt="4"/>
      <dgm:spPr/>
      <dgm:t>
        <a:bodyPr/>
        <a:lstStyle/>
        <a:p>
          <a:endParaRPr lang="it-IT"/>
        </a:p>
      </dgm:t>
    </dgm:pt>
    <dgm:pt modelId="{89660C4E-0CFD-40FC-BBED-805D1F489E1A}" type="pres">
      <dgm:prSet presAssocID="{C614299B-2072-44D6-A8AE-2578D07D4A7F}" presName="dummy4a" presStyleCnt="0"/>
      <dgm:spPr/>
    </dgm:pt>
    <dgm:pt modelId="{3757EB00-7E33-495C-9253-257317882ECE}" type="pres">
      <dgm:prSet presAssocID="{C614299B-2072-44D6-A8AE-2578D07D4A7F}" presName="dummy4b" presStyleCnt="0"/>
      <dgm:spPr/>
    </dgm:pt>
    <dgm:pt modelId="{55D7C5ED-B24F-4D70-AEDF-14ECE132D3E5}" type="pres">
      <dgm:prSet presAssocID="{C614299B-2072-44D6-A8AE-2578D07D4A7F}" presName="wedge4Tx" presStyleLbl="node1" presStyleIdx="3" presStyleCnt="4">
        <dgm:presLayoutVars>
          <dgm:chMax val="0"/>
          <dgm:chPref val="0"/>
          <dgm:bulletEnabled val="1"/>
        </dgm:presLayoutVars>
      </dgm:prSet>
      <dgm:spPr/>
      <dgm:t>
        <a:bodyPr/>
        <a:lstStyle/>
        <a:p>
          <a:endParaRPr lang="it-IT"/>
        </a:p>
      </dgm:t>
    </dgm:pt>
    <dgm:pt modelId="{5CC2729F-211C-496E-9C98-DF70F4BFF7C1}" type="pres">
      <dgm:prSet presAssocID="{414911D7-F683-448B-BAFC-973B6F7BAE8C}" presName="arrowWedge1" presStyleLbl="fgSibTrans2D1" presStyleIdx="0" presStyleCnt="4"/>
      <dgm:spPr/>
    </dgm:pt>
    <dgm:pt modelId="{6E92B4D0-B766-4BEF-AE06-9F28B81EEEE6}" type="pres">
      <dgm:prSet presAssocID="{CE7B6273-0C49-4549-9983-578881C51358}" presName="arrowWedge2" presStyleLbl="fgSibTrans2D1" presStyleIdx="1" presStyleCnt="4"/>
      <dgm:spPr/>
    </dgm:pt>
    <dgm:pt modelId="{2C8C345A-097E-4D75-B389-7699A21EF75E}" type="pres">
      <dgm:prSet presAssocID="{4AD9F207-EEF0-4CB8-9D87-6E9A4CF0E676}" presName="arrowWedge3" presStyleLbl="fgSibTrans2D1" presStyleIdx="2" presStyleCnt="4" custLinFactNeighborX="-123" custLinFactNeighborY="1171"/>
      <dgm:spPr/>
    </dgm:pt>
    <dgm:pt modelId="{A214AC69-442E-4B0A-9DD7-23F3962569FF}" type="pres">
      <dgm:prSet presAssocID="{82EF2C73-0944-4DE5-9C97-BBD2A70FBC63}" presName="arrowWedge4" presStyleLbl="fgSibTrans2D1" presStyleIdx="3" presStyleCnt="4"/>
      <dgm:spPr/>
    </dgm:pt>
  </dgm:ptLst>
  <dgm:cxnLst>
    <dgm:cxn modelId="{EF5643A1-A14F-4130-83D9-E777D3EBCE7F}" type="presOf" srcId="{D8ECAAE4-BB06-4247-BFF9-DE9C767B500B}" destId="{55D7C5ED-B24F-4D70-AEDF-14ECE132D3E5}" srcOrd="1" destOrd="0" presId="urn:microsoft.com/office/officeart/2005/8/layout/cycle8"/>
    <dgm:cxn modelId="{CEC496E2-405D-4CD8-A088-7ADDC7CD6224}" type="presOf" srcId="{5A4119CE-9133-4521-82CC-5CDF3CB50322}" destId="{B21CCAE3-4E5B-4AD4-98CF-C84CFD4B2B61}" srcOrd="0" destOrd="0" presId="urn:microsoft.com/office/officeart/2005/8/layout/cycle8"/>
    <dgm:cxn modelId="{B4AE16C3-B869-4C8B-A3C4-EE43F777A81E}" type="presOf" srcId="{C614299B-2072-44D6-A8AE-2578D07D4A7F}" destId="{9B2DF850-6F39-4C7B-8F9C-4FB9B6127052}" srcOrd="0" destOrd="0" presId="urn:microsoft.com/office/officeart/2005/8/layout/cycle8"/>
    <dgm:cxn modelId="{5B029A31-7973-48FC-904A-8E1415FB31DB}" type="presOf" srcId="{D8ECAAE4-BB06-4247-BFF9-DE9C767B500B}" destId="{2CD97BB5-9B57-47E0-A5C0-4486B247297F}" srcOrd="0" destOrd="0" presId="urn:microsoft.com/office/officeart/2005/8/layout/cycle8"/>
    <dgm:cxn modelId="{2BFF39B4-673E-415C-BEDA-13B11218ED14}" srcId="{C614299B-2072-44D6-A8AE-2578D07D4A7F}" destId="{5A4119CE-9133-4521-82CC-5CDF3CB50322}" srcOrd="0" destOrd="0" parTransId="{1AD96800-53D1-42FA-8BB9-CB8EA57457DA}" sibTransId="{414911D7-F683-448B-BAFC-973B6F7BAE8C}"/>
    <dgm:cxn modelId="{07A11E81-838B-48C4-B3CE-575CE01AA285}" type="presOf" srcId="{8129AC6B-B953-4C5D-96AC-DB9331523478}" destId="{6474684D-7762-4CD1-A3B4-D72EED99A80F}" srcOrd="0" destOrd="0" presId="urn:microsoft.com/office/officeart/2005/8/layout/cycle8"/>
    <dgm:cxn modelId="{7245D303-6344-451B-A6A1-E18A65A092FE}" srcId="{C614299B-2072-44D6-A8AE-2578D07D4A7F}" destId="{8129AC6B-B953-4C5D-96AC-DB9331523478}" srcOrd="2" destOrd="0" parTransId="{FB89B788-C656-4FB1-938D-A527B2F1AC8D}" sibTransId="{4AD9F207-EEF0-4CB8-9D87-6E9A4CF0E676}"/>
    <dgm:cxn modelId="{8F9F5334-FDDD-45D3-8255-6EE5AAEA4A63}" type="presOf" srcId="{8129AC6B-B953-4C5D-96AC-DB9331523478}" destId="{C15382B8-6863-47C3-BF10-11F61B0D5D87}" srcOrd="1" destOrd="0" presId="urn:microsoft.com/office/officeart/2005/8/layout/cycle8"/>
    <dgm:cxn modelId="{7DE544F7-719C-45A8-A4AF-667864559B4C}" type="presOf" srcId="{5A4119CE-9133-4521-82CC-5CDF3CB50322}" destId="{BED3001F-674E-470B-8B2C-07271289107A}" srcOrd="1" destOrd="0" presId="urn:microsoft.com/office/officeart/2005/8/layout/cycle8"/>
    <dgm:cxn modelId="{E5CD6CE0-EBAD-43B4-9A20-8F674AA6C3DC}" srcId="{C614299B-2072-44D6-A8AE-2578D07D4A7F}" destId="{A38EE3BB-1857-4162-BD97-E4F09BD3E9D5}" srcOrd="1" destOrd="0" parTransId="{960ED48D-7B66-4707-B779-3BEA4CE1F7D8}" sibTransId="{CE7B6273-0C49-4549-9983-578881C51358}"/>
    <dgm:cxn modelId="{8D160387-46DD-457A-82B0-AF88829CF176}" type="presOf" srcId="{A38EE3BB-1857-4162-BD97-E4F09BD3E9D5}" destId="{8F5469E7-585B-41BF-B0B9-432DEE54B9D7}" srcOrd="1" destOrd="0" presId="urn:microsoft.com/office/officeart/2005/8/layout/cycle8"/>
    <dgm:cxn modelId="{7DA01B41-7384-44F8-B476-A529477D0750}" type="presOf" srcId="{A38EE3BB-1857-4162-BD97-E4F09BD3E9D5}" destId="{F0F6EC78-48FE-4338-9470-51C5945E4C5A}" srcOrd="0" destOrd="0" presId="urn:microsoft.com/office/officeart/2005/8/layout/cycle8"/>
    <dgm:cxn modelId="{7DE1D404-EEC6-4E91-A3B2-4D6973BE88A1}" srcId="{C614299B-2072-44D6-A8AE-2578D07D4A7F}" destId="{D8ECAAE4-BB06-4247-BFF9-DE9C767B500B}" srcOrd="3" destOrd="0" parTransId="{EE7AFA6A-9065-4FEC-BC19-2F72BA31E000}" sibTransId="{82EF2C73-0944-4DE5-9C97-BBD2A70FBC63}"/>
    <dgm:cxn modelId="{BB5AED6E-6380-4820-95B4-706DB0255D1D}" type="presParOf" srcId="{9B2DF850-6F39-4C7B-8F9C-4FB9B6127052}" destId="{B21CCAE3-4E5B-4AD4-98CF-C84CFD4B2B61}" srcOrd="0" destOrd="0" presId="urn:microsoft.com/office/officeart/2005/8/layout/cycle8"/>
    <dgm:cxn modelId="{4B788EE7-D7EA-425F-9A8F-32E953CA1387}" type="presParOf" srcId="{9B2DF850-6F39-4C7B-8F9C-4FB9B6127052}" destId="{C4E6D097-CC03-48D3-857D-DC2A4EA423B4}" srcOrd="1" destOrd="0" presId="urn:microsoft.com/office/officeart/2005/8/layout/cycle8"/>
    <dgm:cxn modelId="{640EBB81-AD32-4A2D-8882-8A118610AF77}" type="presParOf" srcId="{9B2DF850-6F39-4C7B-8F9C-4FB9B6127052}" destId="{C40D7312-AB5A-4228-9936-8EA64F9B4BFD}" srcOrd="2" destOrd="0" presId="urn:microsoft.com/office/officeart/2005/8/layout/cycle8"/>
    <dgm:cxn modelId="{52308EA8-F3EF-4C9E-BABA-FA3CC14AC948}" type="presParOf" srcId="{9B2DF850-6F39-4C7B-8F9C-4FB9B6127052}" destId="{BED3001F-674E-470B-8B2C-07271289107A}" srcOrd="3" destOrd="0" presId="urn:microsoft.com/office/officeart/2005/8/layout/cycle8"/>
    <dgm:cxn modelId="{4AC7FF35-0762-42F5-992A-FE0976C68BEA}" type="presParOf" srcId="{9B2DF850-6F39-4C7B-8F9C-4FB9B6127052}" destId="{F0F6EC78-48FE-4338-9470-51C5945E4C5A}" srcOrd="4" destOrd="0" presId="urn:microsoft.com/office/officeart/2005/8/layout/cycle8"/>
    <dgm:cxn modelId="{84008BED-8522-4F4C-958C-6E1FBB720A7F}" type="presParOf" srcId="{9B2DF850-6F39-4C7B-8F9C-4FB9B6127052}" destId="{FE710D49-71F8-4120-B031-08BEE462CD9D}" srcOrd="5" destOrd="0" presId="urn:microsoft.com/office/officeart/2005/8/layout/cycle8"/>
    <dgm:cxn modelId="{4DD8F10F-D76A-43E0-9F59-4621C82BB4BB}" type="presParOf" srcId="{9B2DF850-6F39-4C7B-8F9C-4FB9B6127052}" destId="{5B7D1FFF-ED52-4A71-A480-94D2B8A2FE6C}" srcOrd="6" destOrd="0" presId="urn:microsoft.com/office/officeart/2005/8/layout/cycle8"/>
    <dgm:cxn modelId="{8E76FF7D-F125-4FB5-AEEC-C0FB6664738C}" type="presParOf" srcId="{9B2DF850-6F39-4C7B-8F9C-4FB9B6127052}" destId="{8F5469E7-585B-41BF-B0B9-432DEE54B9D7}" srcOrd="7" destOrd="0" presId="urn:microsoft.com/office/officeart/2005/8/layout/cycle8"/>
    <dgm:cxn modelId="{118CD914-9E4F-4A1C-A506-C5C14C36B81D}" type="presParOf" srcId="{9B2DF850-6F39-4C7B-8F9C-4FB9B6127052}" destId="{6474684D-7762-4CD1-A3B4-D72EED99A80F}" srcOrd="8" destOrd="0" presId="urn:microsoft.com/office/officeart/2005/8/layout/cycle8"/>
    <dgm:cxn modelId="{D32D4AE7-C687-400F-BBC4-D6D31FDF1921}" type="presParOf" srcId="{9B2DF850-6F39-4C7B-8F9C-4FB9B6127052}" destId="{C95F34F1-DD72-4853-B47C-7B5756226F78}" srcOrd="9" destOrd="0" presId="urn:microsoft.com/office/officeart/2005/8/layout/cycle8"/>
    <dgm:cxn modelId="{590C4D9A-B0AA-4DD5-83DC-5BDE6A97F78F}" type="presParOf" srcId="{9B2DF850-6F39-4C7B-8F9C-4FB9B6127052}" destId="{C5216591-466C-44C9-89A5-685B16ABD408}" srcOrd="10" destOrd="0" presId="urn:microsoft.com/office/officeart/2005/8/layout/cycle8"/>
    <dgm:cxn modelId="{349F72F8-A698-483C-A7ED-C384ADFFDF20}" type="presParOf" srcId="{9B2DF850-6F39-4C7B-8F9C-4FB9B6127052}" destId="{C15382B8-6863-47C3-BF10-11F61B0D5D87}" srcOrd="11" destOrd="0" presId="urn:microsoft.com/office/officeart/2005/8/layout/cycle8"/>
    <dgm:cxn modelId="{854D6E9B-FF1C-4E44-BF82-CC387C3D490B}" type="presParOf" srcId="{9B2DF850-6F39-4C7B-8F9C-4FB9B6127052}" destId="{2CD97BB5-9B57-47E0-A5C0-4486B247297F}" srcOrd="12" destOrd="0" presId="urn:microsoft.com/office/officeart/2005/8/layout/cycle8"/>
    <dgm:cxn modelId="{75E3CAA0-C81B-44AA-B9DB-6750B3C14558}" type="presParOf" srcId="{9B2DF850-6F39-4C7B-8F9C-4FB9B6127052}" destId="{89660C4E-0CFD-40FC-BBED-805D1F489E1A}" srcOrd="13" destOrd="0" presId="urn:microsoft.com/office/officeart/2005/8/layout/cycle8"/>
    <dgm:cxn modelId="{D084C4F1-389A-4B9D-B162-967B9E709BB2}" type="presParOf" srcId="{9B2DF850-6F39-4C7B-8F9C-4FB9B6127052}" destId="{3757EB00-7E33-495C-9253-257317882ECE}" srcOrd="14" destOrd="0" presId="urn:microsoft.com/office/officeart/2005/8/layout/cycle8"/>
    <dgm:cxn modelId="{C9D34EC8-D03C-47C9-A977-C50DEA94CB99}" type="presParOf" srcId="{9B2DF850-6F39-4C7B-8F9C-4FB9B6127052}" destId="{55D7C5ED-B24F-4D70-AEDF-14ECE132D3E5}" srcOrd="15" destOrd="0" presId="urn:microsoft.com/office/officeart/2005/8/layout/cycle8"/>
    <dgm:cxn modelId="{49AC875A-E359-4C83-B055-72BAB95A7E21}" type="presParOf" srcId="{9B2DF850-6F39-4C7B-8F9C-4FB9B6127052}" destId="{5CC2729F-211C-496E-9C98-DF70F4BFF7C1}" srcOrd="16" destOrd="0" presId="urn:microsoft.com/office/officeart/2005/8/layout/cycle8"/>
    <dgm:cxn modelId="{AE56E930-4CD5-4502-AD3A-34D51CFA2695}" type="presParOf" srcId="{9B2DF850-6F39-4C7B-8F9C-4FB9B6127052}" destId="{6E92B4D0-B766-4BEF-AE06-9F28B81EEEE6}" srcOrd="17" destOrd="0" presId="urn:microsoft.com/office/officeart/2005/8/layout/cycle8"/>
    <dgm:cxn modelId="{4ADE9D34-6925-4C61-B8E6-FC645ED2CECC}" type="presParOf" srcId="{9B2DF850-6F39-4C7B-8F9C-4FB9B6127052}" destId="{2C8C345A-097E-4D75-B389-7699A21EF75E}" srcOrd="18" destOrd="0" presId="urn:microsoft.com/office/officeart/2005/8/layout/cycle8"/>
    <dgm:cxn modelId="{B1800E68-61E6-473F-9CC9-F0FDB7F7808B}" type="presParOf" srcId="{9B2DF850-6F39-4C7B-8F9C-4FB9B6127052}" destId="{A214AC69-442E-4B0A-9DD7-23F3962569FF}" srcOrd="19" destOrd="0" presId="urn:microsoft.com/office/officeart/2005/8/layout/cycle8"/>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hi siamo</a:t>
          </a:r>
          <a:endParaRPr lang="it-IT" sz="4000" b="1" kern="1200" dirty="0">
            <a:solidFill>
              <a:schemeClr val="accent1">
                <a:lumMod val="75000"/>
              </a:schemeClr>
            </a:solidFill>
          </a:endParaRPr>
        </a:p>
      </dsp:txBody>
      <dsp:txXfrm>
        <a:off x="0" y="351"/>
        <a:ext cx="7272808" cy="71937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835D1-122D-4027-AADC-8E33108B9F24}">
      <dsp:nvSpPr>
        <dsp:cNvPr id="0" name=""/>
        <dsp:cNvSpPr/>
      </dsp:nvSpPr>
      <dsp:spPr>
        <a:xfrm>
          <a:off x="4963" y="1477"/>
          <a:ext cx="2122042" cy="836860"/>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kern="1200" dirty="0" smtClean="0"/>
            <a:t>Definizione piano di lavoro (in presenza)</a:t>
          </a:r>
        </a:p>
        <a:p>
          <a:pPr lvl="0" algn="ctr" defTabSz="800100">
            <a:lnSpc>
              <a:spcPct val="90000"/>
            </a:lnSpc>
            <a:spcBef>
              <a:spcPct val="0"/>
            </a:spcBef>
            <a:spcAft>
              <a:spcPct val="35000"/>
            </a:spcAft>
          </a:pPr>
          <a:r>
            <a:rPr lang="it-IT" sz="1800" kern="1200" dirty="0" smtClean="0"/>
            <a:t>8-9 maggio 2014</a:t>
          </a:r>
          <a:endParaRPr lang="it-IT" sz="1800" kern="1200" dirty="0"/>
        </a:p>
      </dsp:txBody>
      <dsp:txXfrm>
        <a:off x="4963" y="1477"/>
        <a:ext cx="2122042" cy="83686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34D6D-2122-4A51-877E-06D18981102B}">
      <dsp:nvSpPr>
        <dsp:cNvPr id="0" name=""/>
        <dsp:cNvSpPr/>
      </dsp:nvSpPr>
      <dsp:spPr>
        <a:xfrm>
          <a:off x="3655797" y="0"/>
          <a:ext cx="1817686" cy="34173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Biotecnologie</a:t>
          </a:r>
          <a:endParaRPr lang="it-IT" sz="1300" kern="1200" dirty="0"/>
        </a:p>
      </dsp:txBody>
      <dsp:txXfrm>
        <a:off x="3672479" y="16682"/>
        <a:ext cx="1784322" cy="308372"/>
      </dsp:txXfrm>
    </dsp:sp>
    <dsp:sp modelId="{B48349C0-DA42-45C1-A305-A31ACB3E56FA}">
      <dsp:nvSpPr>
        <dsp:cNvPr id="0" name=""/>
        <dsp:cNvSpPr/>
      </dsp:nvSpPr>
      <dsp:spPr>
        <a:xfrm>
          <a:off x="3611886" y="200819"/>
          <a:ext cx="3902836" cy="3902836"/>
        </a:xfrm>
        <a:custGeom>
          <a:avLst/>
          <a:gdLst/>
          <a:ahLst/>
          <a:cxnLst/>
          <a:rect l="0" t="0" r="0" b="0"/>
          <a:pathLst>
            <a:path>
              <a:moveTo>
                <a:pt x="1838273" y="3282"/>
              </a:moveTo>
              <a:arcTo wR="1951418" hR="1951418" stAng="16000565" swAng="427159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6AC538DC-7B9C-4F13-B5F1-2B31B455CDEC}">
      <dsp:nvSpPr>
        <dsp:cNvPr id="0" name=""/>
        <dsp:cNvSpPr/>
      </dsp:nvSpPr>
      <dsp:spPr>
        <a:xfrm>
          <a:off x="7510984" y="1955458"/>
          <a:ext cx="824557" cy="672803"/>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CT</a:t>
          </a:r>
          <a:endParaRPr lang="it-IT" sz="1300" kern="1200" dirty="0"/>
        </a:p>
      </dsp:txBody>
      <dsp:txXfrm>
        <a:off x="7543828" y="1988302"/>
        <a:ext cx="758869" cy="607115"/>
      </dsp:txXfrm>
    </dsp:sp>
    <dsp:sp modelId="{C398BA1F-BFAB-4EDA-A553-016DA6A23E7D}">
      <dsp:nvSpPr>
        <dsp:cNvPr id="0" name=""/>
        <dsp:cNvSpPr/>
      </dsp:nvSpPr>
      <dsp:spPr>
        <a:xfrm>
          <a:off x="4028202" y="800213"/>
          <a:ext cx="3902836" cy="3902836"/>
        </a:xfrm>
        <a:custGeom>
          <a:avLst/>
          <a:gdLst/>
          <a:ahLst/>
          <a:cxnLst/>
          <a:rect l="0" t="0" r="0" b="0"/>
          <a:pathLst>
            <a:path>
              <a:moveTo>
                <a:pt x="3836399" y="2456272"/>
              </a:moveTo>
              <a:arcTo wR="1951418" hR="1951418" stAng="22499617" swAng="428526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4D6D01E9-C592-4F2E-AB82-072A02D0A479}">
      <dsp:nvSpPr>
        <dsp:cNvPr id="0" name=""/>
        <dsp:cNvSpPr/>
      </dsp:nvSpPr>
      <dsp:spPr>
        <a:xfrm>
          <a:off x="3655785" y="4564324"/>
          <a:ext cx="1817686" cy="52524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nnovazione sociale</a:t>
          </a:r>
          <a:endParaRPr lang="it-IT" sz="1300" kern="1200" dirty="0"/>
        </a:p>
      </dsp:txBody>
      <dsp:txXfrm>
        <a:off x="3681425" y="4589964"/>
        <a:ext cx="1766406" cy="473966"/>
      </dsp:txXfrm>
    </dsp:sp>
    <dsp:sp modelId="{F7BAADD9-C75B-4898-B52D-48E4B788C62A}">
      <dsp:nvSpPr>
        <dsp:cNvPr id="0" name=""/>
        <dsp:cNvSpPr/>
      </dsp:nvSpPr>
      <dsp:spPr>
        <a:xfrm>
          <a:off x="1351505" y="777483"/>
          <a:ext cx="3902836" cy="3902836"/>
        </a:xfrm>
        <a:custGeom>
          <a:avLst/>
          <a:gdLst/>
          <a:ahLst/>
          <a:cxnLst/>
          <a:rect l="0" t="0" r="0" b="0"/>
          <a:pathLst>
            <a:path>
              <a:moveTo>
                <a:pt x="1762600" y="3893680"/>
              </a:moveTo>
              <a:arcTo wR="1951418" hR="1951418" stAng="5733156" swAng="3384416"/>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7086B33B-544F-4FEE-A7F7-198130F517DF}">
      <dsp:nvSpPr>
        <dsp:cNvPr id="0" name=""/>
        <dsp:cNvSpPr/>
      </dsp:nvSpPr>
      <dsp:spPr>
        <a:xfrm>
          <a:off x="864104" y="1955464"/>
          <a:ext cx="934072" cy="118149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Micro elettronica</a:t>
          </a:r>
          <a:endParaRPr lang="it-IT" sz="1300" kern="1200" dirty="0"/>
        </a:p>
      </dsp:txBody>
      <dsp:txXfrm>
        <a:off x="909702" y="2001062"/>
        <a:ext cx="842876" cy="1090300"/>
      </dsp:txXfrm>
    </dsp:sp>
    <dsp:sp modelId="{00526382-6092-453E-9B7B-82B351DD0AD1}">
      <dsp:nvSpPr>
        <dsp:cNvPr id="0" name=""/>
        <dsp:cNvSpPr/>
      </dsp:nvSpPr>
      <dsp:spPr>
        <a:xfrm>
          <a:off x="1798177" y="252786"/>
          <a:ext cx="3902836" cy="3902836"/>
        </a:xfrm>
        <a:custGeom>
          <a:avLst/>
          <a:gdLst/>
          <a:ahLst/>
          <a:cxnLst/>
          <a:rect l="0" t="0" r="0" b="0"/>
          <a:pathLst>
            <a:path>
              <a:moveTo>
                <a:pt x="100781" y="1332404"/>
              </a:moveTo>
              <a:arcTo wR="1951418" hR="1951418" stAng="11909665" swAng="4224527"/>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3)</a:t>
          </a:r>
          <a:endParaRPr lang="it-IT" sz="4000" b="1" kern="1200" dirty="0">
            <a:solidFill>
              <a:schemeClr val="accent1">
                <a:lumMod val="75000"/>
              </a:schemeClr>
            </a:solidFill>
          </a:endParaRPr>
        </a:p>
      </dsp:txBody>
      <dsp:txXfrm>
        <a:off x="0" y="351"/>
        <a:ext cx="7272808" cy="7193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ttenzione ai temp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Comprendere come lavorare più che discutere del meri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Stare sul tema</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Interventi operativi (escluse premesse)</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sovrappors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ripetersi</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Le regole del confronto</a:t>
          </a:r>
          <a:endParaRPr lang="it-IT" sz="4400" b="1" kern="1200" dirty="0"/>
        </a:p>
      </dsp:txBody>
      <dsp:txXfrm>
        <a:off x="161122" y="156763"/>
        <a:ext cx="2897772" cy="465017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4)</a:t>
          </a:r>
          <a:endParaRPr lang="it-IT" sz="4000" b="1" kern="1200" dirty="0">
            <a:solidFill>
              <a:schemeClr val="accent1">
                <a:lumMod val="75000"/>
              </a:schemeClr>
            </a:solidFill>
          </a:endParaRPr>
        </a:p>
      </dsp:txBody>
      <dsp:txXfrm>
        <a:off x="0" y="351"/>
        <a:ext cx="7272808" cy="71937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centrato sulle indicazione dei potenziali ambiti di specializzazione rispetto al tavolo tematic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giustificato dalle evidenze, dalle scoperte imprenditoriali e dalle conoscenze possedute dagli attori </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Il </a:t>
          </a:r>
          <a:r>
            <a:rPr lang="it-IT" sz="4400" b="1" kern="1200" dirty="0" err="1" smtClean="0"/>
            <a:t>contributorichiesto</a:t>
          </a:r>
          <a:r>
            <a:rPr lang="it-IT" sz="4400" b="1" kern="1200" dirty="0" smtClean="0"/>
            <a:t> deve essere....</a:t>
          </a:r>
          <a:endParaRPr lang="it-IT" sz="4400" b="1" kern="1200" dirty="0"/>
        </a:p>
      </dsp:txBody>
      <dsp:txXfrm>
        <a:off x="161122" y="156763"/>
        <a:ext cx="2897772" cy="465017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272808"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vvio Tavoli Tematici</a:t>
          </a:r>
          <a:endParaRPr lang="it-IT" sz="1700" b="1" kern="1200" dirty="0">
            <a:solidFill>
              <a:schemeClr val="accent1">
                <a:lumMod val="75000"/>
              </a:schemeClr>
            </a:solidFill>
          </a:endParaRPr>
        </a:p>
      </dsp:txBody>
      <dsp:txXfrm>
        <a:off x="0" y="0"/>
        <a:ext cx="7272808" cy="36933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12879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128792"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mbiti di Specializzazione del Tavolo Tematico</a:t>
          </a:r>
          <a:endParaRPr lang="it-IT" sz="1700" b="1" kern="1200" dirty="0">
            <a:solidFill>
              <a:schemeClr val="accent1">
                <a:lumMod val="75000"/>
              </a:schemeClr>
            </a:solidFill>
          </a:endParaRPr>
        </a:p>
      </dsp:txBody>
      <dsp:txXfrm>
        <a:off x="0" y="0"/>
        <a:ext cx="7128792" cy="36933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A1584-12A4-45C1-ACD7-958A7385C148}">
      <dsp:nvSpPr>
        <dsp:cNvPr id="0" name=""/>
        <dsp:cNvSpPr/>
      </dsp:nvSpPr>
      <dsp:spPr>
        <a:xfrm>
          <a:off x="344249" y="146854"/>
          <a:ext cx="1730971" cy="1730971"/>
        </a:xfrm>
        <a:prstGeom prst="pie">
          <a:avLst>
            <a:gd name="adj1" fmla="val 16200000"/>
            <a:gd name="adj2" fmla="val 54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Primo progress</a:t>
          </a:r>
          <a:endParaRPr lang="it-IT" sz="1300" kern="1200" dirty="0"/>
        </a:p>
      </dsp:txBody>
      <dsp:txXfrm>
        <a:off x="1290101" y="600204"/>
        <a:ext cx="618204" cy="824272"/>
      </dsp:txXfrm>
    </dsp:sp>
    <dsp:sp modelId="{911D987E-41D9-4858-92D0-BAC1D4352876}">
      <dsp:nvSpPr>
        <dsp:cNvPr id="0" name=""/>
        <dsp:cNvSpPr/>
      </dsp:nvSpPr>
      <dsp:spPr>
        <a:xfrm>
          <a:off x="261822" y="146854"/>
          <a:ext cx="1730971" cy="1730971"/>
        </a:xfrm>
        <a:prstGeom prst="pie">
          <a:avLst>
            <a:gd name="adj1" fmla="val 5400000"/>
            <a:gd name="adj2" fmla="val 162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Secondo progress</a:t>
          </a:r>
          <a:endParaRPr lang="it-IT" sz="1300" kern="1200" dirty="0"/>
        </a:p>
      </dsp:txBody>
      <dsp:txXfrm>
        <a:off x="428737" y="600204"/>
        <a:ext cx="618204" cy="824272"/>
      </dsp:txXfrm>
    </dsp:sp>
    <dsp:sp modelId="{091889A5-5D1D-4DA7-941E-C8B05D965E22}">
      <dsp:nvSpPr>
        <dsp:cNvPr id="0" name=""/>
        <dsp:cNvSpPr/>
      </dsp:nvSpPr>
      <dsp:spPr>
        <a:xfrm>
          <a:off x="237094" y="39699"/>
          <a:ext cx="1945281" cy="1945281"/>
        </a:xfrm>
        <a:prstGeom prst="circularArrow">
          <a:avLst>
            <a:gd name="adj1" fmla="val 5085"/>
            <a:gd name="adj2" fmla="val 327528"/>
            <a:gd name="adj3" fmla="val 5072472"/>
            <a:gd name="adj4" fmla="val 16200000"/>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A0F59F-4621-418C-96D7-0810ADA847CA}">
      <dsp:nvSpPr>
        <dsp:cNvPr id="0" name=""/>
        <dsp:cNvSpPr/>
      </dsp:nvSpPr>
      <dsp:spPr>
        <a:xfrm>
          <a:off x="154666" y="39699"/>
          <a:ext cx="1945281" cy="1945281"/>
        </a:xfrm>
        <a:prstGeom prst="circularArrow">
          <a:avLst>
            <a:gd name="adj1" fmla="val 5085"/>
            <a:gd name="adj2" fmla="val 327528"/>
            <a:gd name="adj3" fmla="val 15872472"/>
            <a:gd name="adj4" fmla="val 5400000"/>
            <a:gd name="adj5" fmla="val 5932"/>
          </a:avLst>
        </a:prstGeom>
        <a:solidFill>
          <a:schemeClr val="accent6">
            <a:lumMod val="75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2340748" y="-395555"/>
          <a:ext cx="3040486" cy="3943311"/>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a:t>
          </a:r>
          <a:r>
            <a:rPr lang="it-IT" sz="2000" b="0" kern="1200" dirty="0" err="1" smtClean="0">
              <a:solidFill>
                <a:schemeClr val="accent1"/>
              </a:solidFill>
            </a:rPr>
            <a:t>GdL</a:t>
          </a:r>
          <a:r>
            <a:rPr lang="it-IT" sz="2000" b="0" kern="1200" dirty="0" smtClean="0">
              <a:solidFill>
                <a:schemeClr val="accent1"/>
              </a:solidFill>
            </a:rPr>
            <a:t> </a:t>
          </a:r>
          <a:r>
            <a:rPr lang="it-IT" sz="2000" b="0" kern="1200" dirty="0" err="1" smtClean="0">
              <a:solidFill>
                <a:schemeClr val="accent1"/>
              </a:solidFill>
            </a:rPr>
            <a:t>interdiscipinare</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Dipartimenti regional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Facilitator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rgbClr val="FF0000"/>
              </a:solidFill>
            </a:rPr>
            <a:t>Attori del territorio portatori di conoscenze e competenze che hanno inviato il modulo di adesione  </a:t>
          </a:r>
          <a:endParaRPr lang="it-IT" sz="2000" b="0" kern="1200" dirty="0">
            <a:solidFill>
              <a:srgbClr val="FF0000"/>
            </a:solidFill>
          </a:endParaRPr>
        </a:p>
      </dsp:txBody>
      <dsp:txXfrm rot="-5400000">
        <a:off x="1889336" y="204281"/>
        <a:ext cx="3794887" cy="2743638"/>
      </dsp:txXfrm>
    </dsp:sp>
    <dsp:sp modelId="{4B75031E-EAE2-44AE-A204-79AAE3CD8BF2}">
      <dsp:nvSpPr>
        <dsp:cNvPr id="0" name=""/>
        <dsp:cNvSpPr/>
      </dsp:nvSpPr>
      <dsp:spPr>
        <a:xfrm>
          <a:off x="0" y="3023"/>
          <a:ext cx="1885074" cy="3093320"/>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it-IT" sz="2000" b="1" kern="1200" dirty="0" smtClean="0"/>
            <a:t>TAVOLO TEMATICO ENERGIA</a:t>
          </a:r>
          <a:endParaRPr lang="it-IT" sz="2000" b="1" kern="1200" dirty="0"/>
        </a:p>
      </dsp:txBody>
      <dsp:txXfrm>
        <a:off x="92022" y="95045"/>
        <a:ext cx="1701030" cy="290927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93C6C5-800F-4AD0-9287-91F0CE3F8018}">
      <dsp:nvSpPr>
        <dsp:cNvPr id="0" name=""/>
        <dsp:cNvSpPr/>
      </dsp:nvSpPr>
      <dsp:spPr>
        <a:xfrm>
          <a:off x="0" y="0"/>
          <a:ext cx="2781300" cy="347647"/>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743BFD-89FA-49AE-B8B8-5B451728DC2D}">
      <dsp:nvSpPr>
        <dsp:cNvPr id="0" name=""/>
        <dsp:cNvSpPr/>
      </dsp:nvSpPr>
      <dsp:spPr>
        <a:xfrm>
          <a:off x="83438" y="46353"/>
          <a:ext cx="2614422" cy="254941"/>
        </a:xfrm>
        <a:prstGeom prst="roundRect">
          <a:avLst>
            <a:gd name="adj" fmla="val 10000"/>
          </a:avLst>
        </a:prstGeom>
        <a:solidFill>
          <a:schemeClr val="accent2">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7DCA96-203E-4FCF-BFE0-43C97B4D268A}">
      <dsp:nvSpPr>
        <dsp:cNvPr id="0" name=""/>
        <dsp:cNvSpPr/>
      </dsp:nvSpPr>
      <dsp:spPr>
        <a:xfrm rot="10800000">
          <a:off x="83438" y="347647"/>
          <a:ext cx="2614422" cy="424902"/>
        </a:xfrm>
        <a:prstGeom prst="round2SameRect">
          <a:avLst>
            <a:gd name="adj1" fmla="val 105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rtl="0">
            <a:lnSpc>
              <a:spcPct val="90000"/>
            </a:lnSpc>
            <a:spcBef>
              <a:spcPct val="0"/>
            </a:spcBef>
            <a:spcAft>
              <a:spcPct val="35000"/>
            </a:spcAft>
          </a:pPr>
          <a:r>
            <a:rPr lang="it-IT" sz="1400" b="1" kern="1200" dirty="0" smtClean="0"/>
            <a:t>TIME LINE RICERCA ED ANALISI </a:t>
          </a:r>
          <a:endParaRPr lang="it-IT" sz="1400" b="1" kern="1200" dirty="0"/>
        </a:p>
      </dsp:txBody>
      <dsp:txXfrm rot="10800000">
        <a:off x="96505" y="347647"/>
        <a:ext cx="2588288" cy="41183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876863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8768630" cy="720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it-IT" sz="2400" b="1" u="none" strike="noStrike" kern="1200" dirty="0" smtClean="0">
              <a:solidFill>
                <a:schemeClr val="accent1">
                  <a:lumMod val="75000"/>
                </a:schemeClr>
              </a:solidFill>
              <a:effectLst/>
            </a:rPr>
            <a:t>A che punto è la definizione della RIS 3 Sicilia: percorso svolto</a:t>
          </a:r>
          <a:endParaRPr lang="it-IT" sz="2400" b="1" kern="1200" dirty="0">
            <a:solidFill>
              <a:schemeClr val="accent1">
                <a:lumMod val="75000"/>
              </a:schemeClr>
            </a:solidFill>
          </a:endParaRPr>
        </a:p>
      </dsp:txBody>
      <dsp:txXfrm>
        <a:off x="0" y="0"/>
        <a:ext cx="8768630" cy="72008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A28F2D-F759-4636-ACBD-8466D60D4E17}">
      <dsp:nvSpPr>
        <dsp:cNvPr id="0" name=""/>
        <dsp:cNvSpPr/>
      </dsp:nvSpPr>
      <dsp:spPr>
        <a:xfrm rot="5400000">
          <a:off x="287472" y="1524722"/>
          <a:ext cx="1149296"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1061A77-D165-43D5-9ED8-B5EB9DDB2753}">
      <dsp:nvSpPr>
        <dsp:cNvPr id="0" name=""/>
        <dsp:cNvSpPr/>
      </dsp:nvSpPr>
      <dsp:spPr>
        <a:xfrm>
          <a:off x="191499" y="490550"/>
          <a:ext cx="1866106" cy="1258427"/>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1.</a:t>
          </a:r>
          <a:r>
            <a:rPr lang="it-IT" sz="1400" b="1" kern="1200" dirty="0" smtClean="0"/>
            <a:t> </a:t>
          </a:r>
          <a:r>
            <a:rPr lang="it-IT" sz="1400" b="1" kern="1200" dirty="0" smtClean="0">
              <a:solidFill>
                <a:srgbClr val="FF0000"/>
              </a:solidFill>
            </a:rPr>
            <a:t>Azione di feedback</a:t>
          </a:r>
        </a:p>
        <a:p>
          <a:pPr lvl="0" algn="l" defTabSz="622300" rtl="0">
            <a:lnSpc>
              <a:spcPct val="90000"/>
            </a:lnSpc>
            <a:spcBef>
              <a:spcPct val="0"/>
            </a:spcBef>
            <a:spcAft>
              <a:spcPts val="0"/>
            </a:spcAft>
          </a:pPr>
          <a:r>
            <a:rPr lang="it-IT" sz="1400" b="1" kern="1200" dirty="0" smtClean="0">
              <a:solidFill>
                <a:srgbClr val="FF0000"/>
              </a:solidFill>
            </a:rPr>
            <a:t>    e di restituzione</a:t>
          </a:r>
        </a:p>
        <a:p>
          <a:pPr lvl="0" algn="l" defTabSz="622300" rtl="0">
            <a:lnSpc>
              <a:spcPct val="90000"/>
            </a:lnSpc>
            <a:spcBef>
              <a:spcPct val="0"/>
            </a:spcBef>
            <a:spcAft>
              <a:spcPct val="35000"/>
            </a:spcAft>
          </a:pPr>
          <a:r>
            <a:rPr lang="it-IT" sz="1400" b="1" kern="1200" dirty="0" smtClean="0">
              <a:solidFill>
                <a:srgbClr val="FF0000"/>
              </a:solidFill>
            </a:rPr>
            <a:t>    (Laboratorio)</a:t>
          </a:r>
          <a:endParaRPr lang="it-IT" sz="1400" b="1" i="0" kern="1200" dirty="0">
            <a:solidFill>
              <a:srgbClr val="FF0000"/>
            </a:solidFill>
          </a:endParaRPr>
        </a:p>
      </dsp:txBody>
      <dsp:txXfrm>
        <a:off x="228357" y="527408"/>
        <a:ext cx="1792390" cy="1184711"/>
      </dsp:txXfrm>
    </dsp:sp>
    <dsp:sp modelId="{AFE62B99-C380-4A7D-A81E-0B836ACE2D97}">
      <dsp:nvSpPr>
        <dsp:cNvPr id="0" name=""/>
        <dsp:cNvSpPr/>
      </dsp:nvSpPr>
      <dsp:spPr>
        <a:xfrm rot="5400000">
          <a:off x="276473" y="2690821"/>
          <a:ext cx="117129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AD84E32-EB4D-4F6E-9190-AC855B3EA2A5}">
      <dsp:nvSpPr>
        <dsp:cNvPr id="0" name=""/>
        <dsp:cNvSpPr/>
      </dsp:nvSpPr>
      <dsp:spPr>
        <a:xfrm>
          <a:off x="46940" y="1881164"/>
          <a:ext cx="2155223" cy="79083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2.Individuazione ambiti di</a:t>
          </a:r>
        </a:p>
        <a:p>
          <a:pPr lvl="0" algn="l" defTabSz="622300" rtl="0">
            <a:lnSpc>
              <a:spcPct val="90000"/>
            </a:lnSpc>
            <a:spcBef>
              <a:spcPct val="0"/>
            </a:spcBef>
            <a:spcAft>
              <a:spcPct val="35000"/>
            </a:spcAft>
          </a:pPr>
          <a:r>
            <a:rPr lang="it-IT" sz="1400" b="1" kern="1200" dirty="0" smtClean="0">
              <a:solidFill>
                <a:schemeClr val="accent1"/>
              </a:solidFill>
            </a:rPr>
            <a:t>   </a:t>
          </a:r>
          <a:r>
            <a:rPr lang="it-IT" sz="1400" b="1" kern="1200" dirty="0" err="1" smtClean="0">
              <a:solidFill>
                <a:schemeClr val="accent1"/>
              </a:solidFill>
            </a:rPr>
            <a:t>governance</a:t>
          </a:r>
          <a:r>
            <a:rPr lang="it-IT" sz="1400" b="1" kern="1200" dirty="0" smtClean="0">
              <a:solidFill>
                <a:schemeClr val="accent1"/>
              </a:solidFill>
            </a:rPr>
            <a:t> territoriale</a:t>
          </a:r>
          <a:endParaRPr lang="it-IT" sz="1400" b="1" kern="1200" dirty="0">
            <a:solidFill>
              <a:schemeClr val="accent1"/>
            </a:solidFill>
          </a:endParaRPr>
        </a:p>
      </dsp:txBody>
      <dsp:txXfrm>
        <a:off x="70103" y="1904327"/>
        <a:ext cx="2108897" cy="744506"/>
      </dsp:txXfrm>
    </dsp:sp>
    <dsp:sp modelId="{2BCD11DB-F453-4B2F-B9D0-13AA9F8F954B}">
      <dsp:nvSpPr>
        <dsp:cNvPr id="0" name=""/>
        <dsp:cNvSpPr/>
      </dsp:nvSpPr>
      <dsp:spPr>
        <a:xfrm rot="122070">
          <a:off x="866152" y="3332772"/>
          <a:ext cx="2902618"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D4C33AB0-25CA-4969-A8C5-FD5F197A3E20}">
      <dsp:nvSpPr>
        <dsp:cNvPr id="0" name=""/>
        <dsp:cNvSpPr/>
      </dsp:nvSpPr>
      <dsp:spPr>
        <a:xfrm>
          <a:off x="1089" y="2804183"/>
          <a:ext cx="2246925" cy="1302746"/>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3.</a:t>
          </a:r>
          <a:r>
            <a:rPr lang="it-IT" sz="1400" b="1" kern="1200" dirty="0" smtClean="0"/>
            <a:t> </a:t>
          </a:r>
          <a:r>
            <a:rPr lang="it-IT" sz="1400" b="1" kern="1200" dirty="0" smtClean="0">
              <a:solidFill>
                <a:schemeClr val="accent1"/>
              </a:solidFill>
            </a:rPr>
            <a:t>Condivisione delle</a:t>
          </a:r>
        </a:p>
        <a:p>
          <a:pPr lvl="0" algn="l" defTabSz="622300" rtl="0">
            <a:lnSpc>
              <a:spcPct val="90000"/>
            </a:lnSpc>
            <a:spcBef>
              <a:spcPct val="0"/>
            </a:spcBef>
            <a:spcAft>
              <a:spcPts val="0"/>
            </a:spcAft>
          </a:pPr>
          <a:r>
            <a:rPr lang="it-IT" sz="1400" b="1" kern="1200" dirty="0" smtClean="0">
              <a:solidFill>
                <a:schemeClr val="accent1"/>
              </a:solidFill>
            </a:rPr>
            <a:t>    priorità</a:t>
          </a:r>
          <a:endParaRPr lang="it-IT" sz="1400" b="1" kern="1200" dirty="0">
            <a:solidFill>
              <a:schemeClr val="accent1"/>
            </a:solidFill>
          </a:endParaRPr>
        </a:p>
      </dsp:txBody>
      <dsp:txXfrm>
        <a:off x="39245" y="2842339"/>
        <a:ext cx="2170613" cy="1226434"/>
      </dsp:txXfrm>
    </dsp:sp>
    <dsp:sp modelId="{9D20F1A6-36D0-4E01-9A27-C5A6895D97F1}">
      <dsp:nvSpPr>
        <dsp:cNvPr id="0" name=""/>
        <dsp:cNvSpPr/>
      </dsp:nvSpPr>
      <dsp:spPr>
        <a:xfrm rot="16200000">
          <a:off x="3200876" y="2807394"/>
          <a:ext cx="114575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5C7BDE0-612E-411D-8AB9-89A47964221E}">
      <dsp:nvSpPr>
        <dsp:cNvPr id="0" name=""/>
        <dsp:cNvSpPr/>
      </dsp:nvSpPr>
      <dsp:spPr>
        <a:xfrm>
          <a:off x="2697056" y="3010277"/>
          <a:ext cx="2678257" cy="109665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4.</a:t>
          </a:r>
          <a:r>
            <a:rPr lang="it-IT" sz="1400" b="1" kern="1200" dirty="0" smtClean="0"/>
            <a:t> </a:t>
          </a:r>
          <a:r>
            <a:rPr lang="it-IT" sz="1400" b="1" kern="1200" dirty="0" smtClean="0">
              <a:solidFill>
                <a:schemeClr val="accent1"/>
              </a:solidFill>
            </a:rPr>
            <a:t>Formalizzazione della </a:t>
          </a:r>
        </a:p>
        <a:p>
          <a:pPr lvl="0" algn="l" defTabSz="622300" rtl="0">
            <a:lnSpc>
              <a:spcPct val="90000"/>
            </a:lnSpc>
            <a:spcBef>
              <a:spcPct val="0"/>
            </a:spcBef>
            <a:spcAft>
              <a:spcPts val="0"/>
            </a:spcAft>
          </a:pPr>
          <a:r>
            <a:rPr lang="it-IT" sz="1400" b="1" kern="1200" dirty="0" smtClean="0">
              <a:solidFill>
                <a:schemeClr val="accent1"/>
              </a:solidFill>
            </a:rPr>
            <a:t>    condivisione (con appositi</a:t>
          </a:r>
        </a:p>
        <a:p>
          <a:pPr lvl="0" algn="l" defTabSz="622300" rtl="0">
            <a:lnSpc>
              <a:spcPct val="90000"/>
            </a:lnSpc>
            <a:spcBef>
              <a:spcPct val="0"/>
            </a:spcBef>
            <a:spcAft>
              <a:spcPts val="0"/>
            </a:spcAft>
          </a:pPr>
          <a:r>
            <a:rPr lang="it-IT" sz="1400" b="1" kern="1200" dirty="0" smtClean="0">
              <a:solidFill>
                <a:schemeClr val="accent1"/>
              </a:solidFill>
            </a:rPr>
            <a:t>    strumenti) </a:t>
          </a:r>
          <a:endParaRPr lang="it-IT" sz="1400" b="1" kern="1200" dirty="0">
            <a:solidFill>
              <a:schemeClr val="accent1"/>
            </a:solidFill>
          </a:endParaRPr>
        </a:p>
      </dsp:txBody>
      <dsp:txXfrm>
        <a:off x="2729176" y="3042397"/>
        <a:ext cx="2614017" cy="1032412"/>
      </dsp:txXfrm>
    </dsp:sp>
    <dsp:sp modelId="{F38425E9-A09D-45A4-86DE-3B871D235AAB}">
      <dsp:nvSpPr>
        <dsp:cNvPr id="0" name=""/>
        <dsp:cNvSpPr/>
      </dsp:nvSpPr>
      <dsp:spPr>
        <a:xfrm rot="16200000">
          <a:off x="3139090" y="1592916"/>
          <a:ext cx="1269325"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38DA9E9-3C12-47A7-AF1C-6EFA3B6BFACF}">
      <dsp:nvSpPr>
        <dsp:cNvPr id="0" name=""/>
        <dsp:cNvSpPr/>
      </dsp:nvSpPr>
      <dsp:spPr>
        <a:xfrm>
          <a:off x="2538824" y="1932621"/>
          <a:ext cx="2994720" cy="94546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5.</a:t>
          </a:r>
          <a:r>
            <a:rPr lang="it-IT" sz="1400" b="1" kern="1200" dirty="0" smtClean="0"/>
            <a:t> </a:t>
          </a:r>
          <a:r>
            <a:rPr lang="it-IT" sz="1400" b="1" kern="1200" dirty="0" smtClean="0">
              <a:solidFill>
                <a:schemeClr val="accent1"/>
              </a:solidFill>
            </a:rPr>
            <a:t>Avvio  strategia per la</a:t>
          </a:r>
        </a:p>
        <a:p>
          <a:pPr lvl="0" algn="l" defTabSz="622300" rtl="0">
            <a:lnSpc>
              <a:spcPct val="90000"/>
            </a:lnSpc>
            <a:spcBef>
              <a:spcPct val="0"/>
            </a:spcBef>
            <a:spcAft>
              <a:spcPct val="35000"/>
            </a:spcAft>
          </a:pPr>
          <a:r>
            <a:rPr lang="it-IT" sz="1400" b="1" kern="1200" dirty="0" smtClean="0">
              <a:solidFill>
                <a:schemeClr val="accent1"/>
              </a:solidFill>
            </a:rPr>
            <a:t>    comunicazione</a:t>
          </a:r>
        </a:p>
      </dsp:txBody>
      <dsp:txXfrm>
        <a:off x="2566516" y="1960313"/>
        <a:ext cx="2939336" cy="890085"/>
      </dsp:txXfrm>
    </dsp:sp>
    <dsp:sp modelId="{A2DC82F0-E497-49EB-AA87-BC9FF86E52AE}">
      <dsp:nvSpPr>
        <dsp:cNvPr id="0" name=""/>
        <dsp:cNvSpPr/>
      </dsp:nvSpPr>
      <dsp:spPr>
        <a:xfrm rot="101335">
          <a:off x="3779040" y="996916"/>
          <a:ext cx="2958641"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F7A22B34-E67D-452E-B7A3-670E43080D52}">
      <dsp:nvSpPr>
        <dsp:cNvPr id="0" name=""/>
        <dsp:cNvSpPr/>
      </dsp:nvSpPr>
      <dsp:spPr>
        <a:xfrm>
          <a:off x="2689446" y="454813"/>
          <a:ext cx="2693476" cy="134562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6.</a:t>
          </a:r>
          <a:r>
            <a:rPr lang="it-IT" sz="1400" b="1" kern="1200" dirty="0" smtClean="0"/>
            <a:t> </a:t>
          </a:r>
          <a:r>
            <a:rPr lang="it-IT" sz="1400" b="1" kern="1200" dirty="0" smtClean="0">
              <a:solidFill>
                <a:schemeClr val="accent1"/>
              </a:solidFill>
            </a:rPr>
            <a:t>Costituzione di  una Unità</a:t>
          </a:r>
        </a:p>
        <a:p>
          <a:pPr lvl="0" algn="l" defTabSz="622300" rtl="0">
            <a:lnSpc>
              <a:spcPct val="90000"/>
            </a:lnSpc>
            <a:spcBef>
              <a:spcPct val="0"/>
            </a:spcBef>
            <a:spcAft>
              <a:spcPts val="0"/>
            </a:spcAft>
          </a:pPr>
          <a:r>
            <a:rPr lang="it-IT" sz="1400" b="1" kern="1200" dirty="0" smtClean="0">
              <a:solidFill>
                <a:schemeClr val="accent1"/>
              </a:solidFill>
            </a:rPr>
            <a:t>    tecnica con funzioni di </a:t>
          </a:r>
        </a:p>
        <a:p>
          <a:pPr lvl="0" algn="l" defTabSz="622300" rtl="0">
            <a:lnSpc>
              <a:spcPct val="90000"/>
            </a:lnSpc>
            <a:spcBef>
              <a:spcPct val="0"/>
            </a:spcBef>
            <a:spcAft>
              <a:spcPts val="0"/>
            </a:spcAft>
          </a:pPr>
          <a:r>
            <a:rPr lang="it-IT" sz="1400" b="1" kern="1200" dirty="0" smtClean="0">
              <a:solidFill>
                <a:schemeClr val="accent1"/>
              </a:solidFill>
            </a:rPr>
            <a:t>    indirizzo e coordinamento, </a:t>
          </a:r>
        </a:p>
        <a:p>
          <a:pPr lvl="0" algn="l" defTabSz="622300" rtl="0">
            <a:lnSpc>
              <a:spcPct val="90000"/>
            </a:lnSpc>
            <a:spcBef>
              <a:spcPct val="0"/>
            </a:spcBef>
            <a:spcAft>
              <a:spcPts val="0"/>
            </a:spcAft>
          </a:pPr>
          <a:r>
            <a:rPr lang="it-IT" sz="1400" b="1" kern="1200" dirty="0" smtClean="0">
              <a:solidFill>
                <a:schemeClr val="accent1"/>
              </a:solidFill>
            </a:rPr>
            <a:t>    monitoraggio e valutazione</a:t>
          </a:r>
        </a:p>
        <a:p>
          <a:pPr lvl="0" algn="l" defTabSz="622300" rtl="0">
            <a:lnSpc>
              <a:spcPct val="90000"/>
            </a:lnSpc>
            <a:spcBef>
              <a:spcPct val="0"/>
            </a:spcBef>
            <a:spcAft>
              <a:spcPts val="0"/>
            </a:spcAft>
          </a:pPr>
          <a:r>
            <a:rPr lang="it-IT" sz="1400" b="1" kern="1200" dirty="0" smtClean="0">
              <a:solidFill>
                <a:schemeClr val="accent1"/>
              </a:solidFill>
            </a:rPr>
            <a:t>    della Strategia</a:t>
          </a:r>
        </a:p>
      </dsp:txBody>
      <dsp:txXfrm>
        <a:off x="2728858" y="494225"/>
        <a:ext cx="2614652" cy="1266798"/>
      </dsp:txXfrm>
    </dsp:sp>
    <dsp:sp modelId="{6C2FB6B5-23EA-4C6B-B472-9E5490D7D680}">
      <dsp:nvSpPr>
        <dsp:cNvPr id="0" name=""/>
        <dsp:cNvSpPr/>
      </dsp:nvSpPr>
      <dsp:spPr>
        <a:xfrm>
          <a:off x="5824354" y="454813"/>
          <a:ext cx="2350233" cy="153125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7.Costituzione del Gruppo</a:t>
          </a:r>
        </a:p>
        <a:p>
          <a:pPr lvl="0" algn="l" defTabSz="622300" rtl="0">
            <a:lnSpc>
              <a:spcPct val="90000"/>
            </a:lnSpc>
            <a:spcBef>
              <a:spcPct val="0"/>
            </a:spcBef>
            <a:spcAft>
              <a:spcPct val="35000"/>
            </a:spcAft>
          </a:pPr>
          <a:r>
            <a:rPr lang="it-IT" sz="1400" b="1" kern="1200" dirty="0" smtClean="0">
              <a:solidFill>
                <a:schemeClr val="accent1"/>
              </a:solidFill>
            </a:rPr>
            <a:t>   di Pilotaggio</a:t>
          </a:r>
        </a:p>
      </dsp:txBody>
      <dsp:txXfrm>
        <a:off x="5869203" y="499662"/>
        <a:ext cx="2260535" cy="144156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7AE75-85E6-437A-8B56-910DD27A4ECE}">
      <dsp:nvSpPr>
        <dsp:cNvPr id="0" name=""/>
        <dsp:cNvSpPr/>
      </dsp:nvSpPr>
      <dsp:spPr>
        <a:xfrm>
          <a:off x="0" y="0"/>
          <a:ext cx="7696904"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8D8CE0C5-97D0-41BA-B185-D747D53A47F7}">
      <dsp:nvSpPr>
        <dsp:cNvPr id="0" name=""/>
        <dsp:cNvSpPr/>
      </dsp:nvSpPr>
      <dsp:spPr>
        <a:xfrm>
          <a:off x="0" y="0"/>
          <a:ext cx="7696904" cy="79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ctr" defTabSz="889000" rtl="0">
            <a:lnSpc>
              <a:spcPct val="90000"/>
            </a:lnSpc>
            <a:spcBef>
              <a:spcPct val="0"/>
            </a:spcBef>
            <a:spcAft>
              <a:spcPct val="35000"/>
            </a:spcAft>
          </a:pPr>
          <a:endParaRPr lang="it-IT" sz="2000" b="1" kern="1200" dirty="0">
            <a:solidFill>
              <a:srgbClr val="6699FF"/>
            </a:solidFill>
            <a:effectLst/>
            <a:latin typeface="Calibri" panose="020F0502020204030204" pitchFamily="34" charset="0"/>
          </a:endParaRPr>
        </a:p>
      </dsp:txBody>
      <dsp:txXfrm>
        <a:off x="0" y="0"/>
        <a:ext cx="7696904" cy="79762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3B85D-E7EC-43EB-AD43-BE75F7C562F8}">
      <dsp:nvSpPr>
        <dsp:cNvPr id="0" name=""/>
        <dsp:cNvSpPr/>
      </dsp:nvSpPr>
      <dsp:spPr>
        <a:xfrm>
          <a:off x="3427"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solidFill>
              <a:srgbClr val="FFFF00"/>
            </a:solidFill>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lvl="0" algn="ctr" defTabSz="622300" rtl="0">
            <a:lnSpc>
              <a:spcPct val="90000"/>
            </a:lnSpc>
            <a:spcBef>
              <a:spcPct val="0"/>
            </a:spcBef>
            <a:spcAft>
              <a:spcPct val="35000"/>
            </a:spcAft>
          </a:pPr>
          <a:r>
            <a:rPr lang="it-IT" sz="1300" kern="1200" dirty="0" smtClean="0"/>
            <a:t>Lettura delle </a:t>
          </a:r>
          <a:r>
            <a:rPr lang="it-IT" sz="1300" b="1" kern="1200" dirty="0" smtClean="0">
              <a:effectLst>
                <a:outerShdw blurRad="38100" dist="38100" dir="2700000" algn="tl">
                  <a:srgbClr val="000000">
                    <a:alpha val="43137"/>
                  </a:srgbClr>
                </a:outerShdw>
              </a:effectLst>
            </a:rPr>
            <a:t>specifiche caratteristiche del territorio</a:t>
          </a:r>
          <a:r>
            <a:rPr lang="it-IT" sz="1300" kern="1200" dirty="0" smtClean="0"/>
            <a:t> e </a:t>
          </a:r>
          <a:r>
            <a:rPr lang="it-IT" sz="1300" b="1" kern="1200" dirty="0" smtClean="0">
              <a:effectLst>
                <a:outerShdw blurRad="38100" dist="38100" dir="2700000" algn="tl">
                  <a:srgbClr val="000000">
                    <a:alpha val="43137"/>
                  </a:srgbClr>
                </a:outerShdw>
              </a:effectLst>
            </a:rPr>
            <a:t>Processo di </a:t>
          </a:r>
          <a:r>
            <a:rPr lang="it-IT" sz="1300" b="1" i="1" kern="1200" dirty="0" smtClean="0">
              <a:effectLst>
                <a:outerShdw blurRad="38100" dist="38100" dir="2700000" algn="tl">
                  <a:srgbClr val="000000">
                    <a:alpha val="43137"/>
                  </a:srgbClr>
                </a:outerShdw>
              </a:effectLst>
            </a:rPr>
            <a:t>empowerment</a:t>
          </a:r>
          <a:r>
            <a:rPr lang="it-IT" sz="1300" b="1" kern="1200" dirty="0" smtClean="0">
              <a:effectLst>
                <a:outerShdw blurRad="38100" dist="38100" dir="2700000" algn="tl">
                  <a:srgbClr val="000000">
                    <a:alpha val="43137"/>
                  </a:srgbClr>
                </a:outerShdw>
              </a:effectLst>
            </a:rPr>
            <a:t> dei diversi attori regionali dell’innovazione. </a:t>
          </a:r>
          <a:endParaRPr lang="it-IT" sz="1300" kern="1200" dirty="0" smtClean="0"/>
        </a:p>
        <a:p>
          <a:pPr lvl="0" algn="ctr" defTabSz="622300" rtl="0">
            <a:lnSpc>
              <a:spcPct val="90000"/>
            </a:lnSpc>
            <a:spcBef>
              <a:spcPct val="0"/>
            </a:spcBef>
            <a:spcAft>
              <a:spcPct val="35000"/>
            </a:spcAft>
          </a:pPr>
          <a:r>
            <a:rPr lang="it-IT" sz="1300" b="1" kern="1200"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kern="1200" dirty="0" smtClean="0">
              <a:solidFill>
                <a:srgbClr val="FFFF00"/>
              </a:solidFill>
            </a:rPr>
            <a:t>.</a:t>
          </a:r>
          <a:endParaRPr lang="it-IT" sz="1200" kern="1200" dirty="0">
            <a:solidFill>
              <a:srgbClr val="FFFF00"/>
            </a:solidFill>
          </a:endParaRPr>
        </a:p>
      </dsp:txBody>
      <dsp:txXfrm>
        <a:off x="3427" y="1872208"/>
        <a:ext cx="3925820" cy="1872208"/>
      </dsp:txXfrm>
    </dsp:sp>
    <dsp:sp modelId="{D45867DB-5E57-4321-B95F-EF177612117D}">
      <dsp:nvSpPr>
        <dsp:cNvPr id="0" name=""/>
        <dsp:cNvSpPr/>
      </dsp:nvSpPr>
      <dsp:spPr>
        <a:xfrm>
          <a:off x="1187031" y="280831"/>
          <a:ext cx="1558613" cy="1558613"/>
        </a:xfrm>
        <a:prstGeom prst="ellipse">
          <a:avLst/>
        </a:prstGeom>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D4FB9A-CA69-4FE6-AE01-D6BD5549E131}">
      <dsp:nvSpPr>
        <dsp:cNvPr id="0" name=""/>
        <dsp:cNvSpPr/>
      </dsp:nvSpPr>
      <dsp:spPr>
        <a:xfrm>
          <a:off x="4050450"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INDIVIDUAZIONE DELLE LEVE CHE MUOVONO LO SVILUPPO</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Ruolo chiave delle cosiddette tecnologie chiave abilitanti (Key Enabling Technologies – KETs). </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Superamento dell’approccio basato sul tradizionale sostegno ai settori produttivi e alla ricerca </a:t>
          </a:r>
        </a:p>
      </dsp:txBody>
      <dsp:txXfrm>
        <a:off x="4050450" y="1872208"/>
        <a:ext cx="3925820" cy="1872208"/>
      </dsp:txXfrm>
    </dsp:sp>
    <dsp:sp modelId="{0884A0BC-1141-4228-BC39-52DFE7694685}">
      <dsp:nvSpPr>
        <dsp:cNvPr id="0" name=""/>
        <dsp:cNvSpPr/>
      </dsp:nvSpPr>
      <dsp:spPr>
        <a:xfrm>
          <a:off x="5224361" y="248739"/>
          <a:ext cx="1558613" cy="1558613"/>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0E4646-191B-46B4-8568-08679650E7AC}">
      <dsp:nvSpPr>
        <dsp:cNvPr id="0" name=""/>
        <dsp:cNvSpPr/>
      </dsp:nvSpPr>
      <dsp:spPr>
        <a:xfrm>
          <a:off x="72525" y="3978442"/>
          <a:ext cx="7599188" cy="702078"/>
        </a:xfrm>
        <a:prstGeom prst="leftRightArrow">
          <a:avLst/>
        </a:prstGeom>
        <a:solidFill>
          <a:schemeClr val="accent2">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68C89-C16B-4E9B-8797-A4838073953D}">
      <dsp:nvSpPr>
        <dsp:cNvPr id="0" name=""/>
        <dsp:cNvSpPr/>
      </dsp:nvSpPr>
      <dsp:spPr>
        <a:xfrm>
          <a:off x="0" y="0"/>
          <a:ext cx="8693073" cy="18136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just" defTabSz="800100" rtl="0">
            <a:lnSpc>
              <a:spcPct val="100000"/>
            </a:lnSpc>
            <a:spcBef>
              <a:spcPct val="0"/>
            </a:spcBef>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lvl="0" algn="just" defTabSz="800100" rtl="0">
            <a:lnSpc>
              <a:spcPct val="10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lvl="0" algn="just" defTabSz="8001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sp:txBody>
      <dsp:txXfrm>
        <a:off x="1894926" y="0"/>
        <a:ext cx="6798146" cy="1813698"/>
      </dsp:txXfrm>
    </dsp:sp>
    <dsp:sp modelId="{56706EBC-49D7-45F7-BB65-A09CF00B3AFD}">
      <dsp:nvSpPr>
        <dsp:cNvPr id="0" name=""/>
        <dsp:cNvSpPr/>
      </dsp:nvSpPr>
      <dsp:spPr>
        <a:xfrm>
          <a:off x="156311" y="281602"/>
          <a:ext cx="1738614" cy="125049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F0A50A-EAFC-4B73-A2B3-D743262EC1EA}">
      <dsp:nvSpPr>
        <dsp:cNvPr id="0" name=""/>
        <dsp:cNvSpPr/>
      </dsp:nvSpPr>
      <dsp:spPr>
        <a:xfrm>
          <a:off x="0" y="1970009"/>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lvl="0" algn="just" defTabSz="7112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lvl="0" algn="just" defTabSz="7112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sp:txBody>
      <dsp:txXfrm>
        <a:off x="1894926" y="1970009"/>
        <a:ext cx="6798146" cy="1563115"/>
      </dsp:txXfrm>
    </dsp:sp>
    <dsp:sp modelId="{14850E1F-B083-46EA-B8E5-E23BCE6F199B}">
      <dsp:nvSpPr>
        <dsp:cNvPr id="0" name=""/>
        <dsp:cNvSpPr/>
      </dsp:nvSpPr>
      <dsp:spPr>
        <a:xfrm>
          <a:off x="156311" y="2126321"/>
          <a:ext cx="1738614" cy="1250492"/>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8B2A6B-DCD5-4D44-B383-E5475A122E28}">
      <dsp:nvSpPr>
        <dsp:cNvPr id="0" name=""/>
        <dsp:cNvSpPr/>
      </dsp:nvSpPr>
      <dsp:spPr>
        <a:xfrm>
          <a:off x="0" y="3689436"/>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lvl="0"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lvl="0"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sp:txBody>
      <dsp:txXfrm>
        <a:off x="1894926" y="3689436"/>
        <a:ext cx="6798146" cy="1563115"/>
      </dsp:txXfrm>
    </dsp:sp>
    <dsp:sp modelId="{03CAC9C2-748F-4326-A0C0-01022A85A403}">
      <dsp:nvSpPr>
        <dsp:cNvPr id="0" name=""/>
        <dsp:cNvSpPr/>
      </dsp:nvSpPr>
      <dsp:spPr>
        <a:xfrm>
          <a:off x="156311" y="3845747"/>
          <a:ext cx="1738614" cy="1250492"/>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1370522" y="355946"/>
          <a:ext cx="767715" cy="767715"/>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524867" y="535780"/>
        <a:ext cx="459025" cy="394621"/>
      </dsp:txXfrm>
    </dsp:sp>
    <dsp:sp modelId="{48AC5F59-43C7-463B-9C6A-CEA2081E1C1C}">
      <dsp:nvSpPr>
        <dsp:cNvPr id="0" name=""/>
        <dsp:cNvSpPr/>
      </dsp:nvSpPr>
      <dsp:spPr>
        <a:xfrm>
          <a:off x="1002665" y="620375"/>
          <a:ext cx="558338" cy="558338"/>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143228" y="761788"/>
        <a:ext cx="277212" cy="275512"/>
      </dsp:txXfrm>
    </dsp:sp>
    <dsp:sp modelId="{9C58820E-B88E-42EC-B94E-53580DE862F7}">
      <dsp:nvSpPr>
        <dsp:cNvPr id="0" name=""/>
        <dsp:cNvSpPr/>
      </dsp:nvSpPr>
      <dsp:spPr>
        <a:xfrm>
          <a:off x="1472100" y="251807"/>
          <a:ext cx="944290" cy="944290"/>
        </a:xfrm>
        <a:prstGeom prst="circularArrow">
          <a:avLst>
            <a:gd name="adj1" fmla="val 4878"/>
            <a:gd name="adj2" fmla="val 312630"/>
            <a:gd name="adj3" fmla="val 2770429"/>
            <a:gd name="adj4" fmla="val 15829649"/>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899274" y="573756"/>
          <a:ext cx="713975" cy="71397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286552" y="0"/>
          <a:ext cx="1114558" cy="309355"/>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lvl="0" algn="ctr" defTabSz="400050" rtl="0">
            <a:lnSpc>
              <a:spcPct val="90000"/>
            </a:lnSpc>
            <a:spcBef>
              <a:spcPct val="0"/>
            </a:spcBef>
            <a:spcAft>
              <a:spcPct val="35000"/>
            </a:spcAft>
          </a:pPr>
          <a:r>
            <a:rPr lang="it-IT" sz="900" kern="1200" dirty="0" smtClean="0"/>
            <a:t>Verso il PO FESR 2014-2020</a:t>
          </a:r>
          <a:endParaRPr lang="it-IT" sz="900" kern="1200" dirty="0"/>
        </a:p>
      </dsp:txBody>
      <dsp:txXfrm>
        <a:off x="1286552" y="0"/>
        <a:ext cx="1037219" cy="309355"/>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11C825-4C01-4010-80E5-94DE88871CFE}">
      <dsp:nvSpPr>
        <dsp:cNvPr id="0" name=""/>
        <dsp:cNvSpPr/>
      </dsp:nvSpPr>
      <dsp:spPr>
        <a:xfrm rot="16200000">
          <a:off x="1515000" y="-398839"/>
          <a:ext cx="930483" cy="3988118"/>
        </a:xfrm>
        <a:prstGeom prst="downArrow">
          <a:avLst>
            <a:gd name="adj1" fmla="val 50000"/>
            <a:gd name="adj2" fmla="val 35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 “</a:t>
          </a:r>
          <a:r>
            <a:rPr lang="it-IT" sz="1400" b="1" i="1" kern="1200" dirty="0" smtClean="0">
              <a:effectLst>
                <a:outerShdw blurRad="38100" dist="38100" dir="2700000" algn="tl">
                  <a:srgbClr val="000000">
                    <a:alpha val="43137"/>
                  </a:srgbClr>
                </a:outerShdw>
              </a:effectLst>
            </a:rPr>
            <a:t>mission </a:t>
          </a:r>
          <a:r>
            <a:rPr lang="it-IT" sz="1400" b="1" i="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a:t>
          </a:r>
        </a:p>
      </dsp:txBody>
      <dsp:txXfrm rot="5400000">
        <a:off x="-13817" y="1362599"/>
        <a:ext cx="3825283" cy="465241"/>
      </dsp:txXfrm>
    </dsp:sp>
    <dsp:sp modelId="{DBF43435-E534-4CA2-9BEB-93585D8D69F7}">
      <dsp:nvSpPr>
        <dsp:cNvPr id="0" name=""/>
        <dsp:cNvSpPr/>
      </dsp:nvSpPr>
      <dsp:spPr>
        <a:xfrm rot="5400000">
          <a:off x="5688990" y="-437927"/>
          <a:ext cx="985227" cy="3988118"/>
        </a:xfrm>
        <a:prstGeom prst="downArrow">
          <a:avLst>
            <a:gd name="adj1" fmla="val 50000"/>
            <a:gd name="adj2" fmla="val 35000"/>
          </a:avLst>
        </a:prstGeom>
        <a:solidFill>
          <a:srgbClr val="00CC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a:t>
          </a:r>
          <a:r>
            <a:rPr lang="it-IT" sz="1400" b="1" kern="1200" dirty="0" err="1" smtClean="0">
              <a:effectLst>
                <a:outerShdw blurRad="38100" dist="38100" dir="2700000" algn="tl">
                  <a:srgbClr val="000000">
                    <a:alpha val="43137"/>
                  </a:srgbClr>
                </a:outerShdw>
              </a:effectLst>
            </a:rPr>
            <a:t>diffusion</a:t>
          </a:r>
          <a:r>
            <a:rPr lang="it-IT" sz="1400" b="1" kern="1200" dirty="0" smtClean="0">
              <a:effectLst>
                <a:outerShdw blurRad="38100" dist="38100" dir="2700000" algn="tl">
                  <a:srgbClr val="000000">
                    <a:alpha val="43137"/>
                  </a:srgbClr>
                </a:outerShdw>
              </a:effectLst>
            </a:rPr>
            <a:t> </a:t>
          </a:r>
          <a:r>
            <a:rPr lang="it-IT" sz="1400" b="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 </a:t>
          </a:r>
        </a:p>
      </dsp:txBody>
      <dsp:txXfrm rot="-5400000">
        <a:off x="4359960" y="1309825"/>
        <a:ext cx="3815703" cy="4926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Perché siamo qui</a:t>
          </a:r>
          <a:endParaRPr lang="it-IT" sz="4000" b="1" kern="1200" dirty="0">
            <a:solidFill>
              <a:schemeClr val="accent1">
                <a:lumMod val="75000"/>
              </a:schemeClr>
            </a:solidFill>
          </a:endParaRPr>
        </a:p>
      </dsp:txBody>
      <dsp:txXfrm>
        <a:off x="0" y="351"/>
        <a:ext cx="7272808" cy="71937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3E03EB-8615-4699-A45B-B57E780F0332}">
      <dsp:nvSpPr>
        <dsp:cNvPr id="0" name=""/>
        <dsp:cNvSpPr/>
      </dsp:nvSpPr>
      <dsp:spPr>
        <a:xfrm>
          <a:off x="1332" y="772064"/>
          <a:ext cx="3653126" cy="42977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2C7311-6F60-41E3-801D-0A7CE5665F13}">
      <dsp:nvSpPr>
        <dsp:cNvPr id="0" name=""/>
        <dsp:cNvSpPr/>
      </dsp:nvSpPr>
      <dsp:spPr>
        <a:xfrm>
          <a:off x="1332" y="933472"/>
          <a:ext cx="268371" cy="268371"/>
        </a:xfrm>
        <a:prstGeom prst="rect">
          <a:avLst/>
        </a:prstGeom>
        <a:solidFill>
          <a:srgbClr val="33CC33">
            <a:alpha val="90000"/>
          </a:srgb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B3687A-029B-4B9E-A768-51742B3B318E}">
      <dsp:nvSpPr>
        <dsp:cNvPr id="0" name=""/>
        <dsp:cNvSpPr/>
      </dsp:nvSpPr>
      <dsp:spPr>
        <a:xfrm>
          <a:off x="1332" y="0"/>
          <a:ext cx="3653126" cy="7720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just" defTabSz="711200" rtl="0">
            <a:lnSpc>
              <a:spcPct val="90000"/>
            </a:lnSpc>
            <a:spcBef>
              <a:spcPct val="0"/>
            </a:spcBef>
            <a:spcAft>
              <a:spcPct val="35000"/>
            </a:spcAft>
          </a:pPr>
          <a:r>
            <a:rPr lang="it-IT" sz="1600" b="1" kern="1200" dirty="0" smtClean="0">
              <a:solidFill>
                <a:schemeClr val="accent6">
                  <a:lumMod val="75000"/>
                </a:schemeClr>
              </a:solidFill>
            </a:rPr>
            <a:t>finalizzati ad un diffuso innesto di innovazioni, anche non di natura tecnologica, nel sistema economico e sociale e rivolti ad un’ampia platea di beneficiari </a:t>
          </a:r>
        </a:p>
        <a:p>
          <a:pPr lvl="0" algn="just" defTabSz="711200" rtl="0">
            <a:lnSpc>
              <a:spcPct val="90000"/>
            </a:lnSpc>
            <a:spcBef>
              <a:spcPct val="0"/>
            </a:spcBef>
            <a:spcAft>
              <a:spcPct val="35000"/>
            </a:spcAft>
          </a:pPr>
          <a:endParaRPr lang="it-IT" sz="1600" b="1" kern="1200" dirty="0"/>
        </a:p>
      </dsp:txBody>
      <dsp:txXfrm>
        <a:off x="1332" y="0"/>
        <a:ext cx="3653126" cy="77206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D0415-9388-4E4F-9160-2793C0F671EE}">
      <dsp:nvSpPr>
        <dsp:cNvPr id="0" name=""/>
        <dsp:cNvSpPr/>
      </dsp:nvSpPr>
      <dsp:spPr>
        <a:xfrm>
          <a:off x="1695" y="842150"/>
          <a:ext cx="3984743" cy="468793"/>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E0879E-6F98-4834-B869-D3EE0F5BDB55}">
      <dsp:nvSpPr>
        <dsp:cNvPr id="0" name=""/>
        <dsp:cNvSpPr/>
      </dsp:nvSpPr>
      <dsp:spPr>
        <a:xfrm>
          <a:off x="1695" y="1018209"/>
          <a:ext cx="292733" cy="292733"/>
        </a:xfrm>
        <a:prstGeom prst="rect">
          <a:avLst/>
        </a:prstGeom>
        <a:solidFill>
          <a:schemeClr val="accent2">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966723-4AA0-486E-A4AA-943FAAF5ED21}">
      <dsp:nvSpPr>
        <dsp:cNvPr id="0" name=""/>
        <dsp:cNvSpPr/>
      </dsp:nvSpPr>
      <dsp:spPr>
        <a:xfrm>
          <a:off x="1695" y="0"/>
          <a:ext cx="3984743" cy="842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385" tIns="21590" rIns="32385" bIns="21590" numCol="1" spcCol="1270" anchor="ctr" anchorCtr="0">
          <a:noAutofit/>
        </a:bodyPr>
        <a:lstStyle/>
        <a:p>
          <a:pPr lvl="0" algn="just" defTabSz="755650" rtl="0">
            <a:lnSpc>
              <a:spcPct val="90000"/>
            </a:lnSpc>
            <a:spcBef>
              <a:spcPct val="0"/>
            </a:spcBef>
            <a:spcAft>
              <a:spcPct val="35000"/>
            </a:spcAft>
          </a:pPr>
          <a:r>
            <a:rPr lang="it-IT" sz="1700" b="1" kern="1200" dirty="0" smtClean="0">
              <a:solidFill>
                <a:schemeClr val="accent2"/>
              </a:solidFill>
            </a:rPr>
            <a:t>finalizzati al sostegno mirato a programmi ambiziosi di carattere strategico sotto il profilo dell’impatto sul contesto regionale</a:t>
          </a:r>
          <a:endParaRPr lang="it-IT" sz="1700" b="1" kern="1200" dirty="0">
            <a:solidFill>
              <a:schemeClr val="accent2"/>
            </a:solidFill>
          </a:endParaRPr>
        </a:p>
      </dsp:txBody>
      <dsp:txXfrm>
        <a:off x="1695" y="0"/>
        <a:ext cx="3984743" cy="84215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1370522" y="355946"/>
          <a:ext cx="767715" cy="767715"/>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524867" y="535780"/>
        <a:ext cx="459025" cy="394621"/>
      </dsp:txXfrm>
    </dsp:sp>
    <dsp:sp modelId="{48AC5F59-43C7-463B-9C6A-CEA2081E1C1C}">
      <dsp:nvSpPr>
        <dsp:cNvPr id="0" name=""/>
        <dsp:cNvSpPr/>
      </dsp:nvSpPr>
      <dsp:spPr>
        <a:xfrm>
          <a:off x="1002665" y="620375"/>
          <a:ext cx="558338" cy="558338"/>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143228" y="761788"/>
        <a:ext cx="277212" cy="275512"/>
      </dsp:txXfrm>
    </dsp:sp>
    <dsp:sp modelId="{9C58820E-B88E-42EC-B94E-53580DE862F7}">
      <dsp:nvSpPr>
        <dsp:cNvPr id="0" name=""/>
        <dsp:cNvSpPr/>
      </dsp:nvSpPr>
      <dsp:spPr>
        <a:xfrm>
          <a:off x="1472100" y="251807"/>
          <a:ext cx="944290" cy="944290"/>
        </a:xfrm>
        <a:prstGeom prst="circularArrow">
          <a:avLst>
            <a:gd name="adj1" fmla="val 4878"/>
            <a:gd name="adj2" fmla="val 312630"/>
            <a:gd name="adj3" fmla="val 2770429"/>
            <a:gd name="adj4" fmla="val 15829649"/>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899274" y="573756"/>
          <a:ext cx="713975" cy="71397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1370522" y="355946"/>
          <a:ext cx="767715" cy="767715"/>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524867" y="535780"/>
        <a:ext cx="459025" cy="394621"/>
      </dsp:txXfrm>
    </dsp:sp>
    <dsp:sp modelId="{48AC5F59-43C7-463B-9C6A-CEA2081E1C1C}">
      <dsp:nvSpPr>
        <dsp:cNvPr id="0" name=""/>
        <dsp:cNvSpPr/>
      </dsp:nvSpPr>
      <dsp:spPr>
        <a:xfrm>
          <a:off x="1002665" y="620375"/>
          <a:ext cx="558338" cy="558338"/>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143228" y="761788"/>
        <a:ext cx="277212" cy="275512"/>
      </dsp:txXfrm>
    </dsp:sp>
    <dsp:sp modelId="{9C58820E-B88E-42EC-B94E-53580DE862F7}">
      <dsp:nvSpPr>
        <dsp:cNvPr id="0" name=""/>
        <dsp:cNvSpPr/>
      </dsp:nvSpPr>
      <dsp:spPr>
        <a:xfrm>
          <a:off x="1472100" y="251807"/>
          <a:ext cx="944290" cy="944290"/>
        </a:xfrm>
        <a:prstGeom prst="circularArrow">
          <a:avLst>
            <a:gd name="adj1" fmla="val 4878"/>
            <a:gd name="adj2" fmla="val 312630"/>
            <a:gd name="adj3" fmla="val 2770429"/>
            <a:gd name="adj4" fmla="val 15829649"/>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899274" y="573756"/>
          <a:ext cx="713975" cy="71397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286552" y="0"/>
          <a:ext cx="1114558" cy="309355"/>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lvl="0" algn="ctr" defTabSz="400050" rtl="0">
            <a:lnSpc>
              <a:spcPct val="90000"/>
            </a:lnSpc>
            <a:spcBef>
              <a:spcPct val="0"/>
            </a:spcBef>
            <a:spcAft>
              <a:spcPct val="35000"/>
            </a:spcAft>
          </a:pPr>
          <a:r>
            <a:rPr lang="it-IT" sz="900" kern="1200" dirty="0" smtClean="0"/>
            <a:t>Verso il PO FESR 2014-2020</a:t>
          </a:r>
          <a:endParaRPr lang="it-IT" sz="900" kern="1200" dirty="0"/>
        </a:p>
      </dsp:txBody>
      <dsp:txXfrm>
        <a:off x="1286552" y="0"/>
        <a:ext cx="1037219" cy="309355"/>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428102"/>
          <a:ext cx="2328063"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Mission Oriented </a:t>
          </a:r>
          <a:endParaRPr lang="it-IT" sz="1100" kern="1200" dirty="0"/>
        </a:p>
      </dsp:txBody>
      <dsp:txXfrm>
        <a:off x="11472" y="439574"/>
        <a:ext cx="2305119" cy="212059"/>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282247"/>
          <a:ext cx="2262021"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Diffusion  Oriented </a:t>
          </a:r>
          <a:endParaRPr lang="it-IT" sz="1100" kern="1200" dirty="0"/>
        </a:p>
      </dsp:txBody>
      <dsp:txXfrm>
        <a:off x="11472" y="293719"/>
        <a:ext cx="2239077" cy="212059"/>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7FC795-A476-4946-BE97-EF1BF71309EC}">
      <dsp:nvSpPr>
        <dsp:cNvPr id="0" name=""/>
        <dsp:cNvSpPr/>
      </dsp:nvSpPr>
      <dsp:spPr>
        <a:xfrm>
          <a:off x="0" y="77687"/>
          <a:ext cx="2221610"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Rafforzamento competenze scientifiche e produttive legate alle KETs </a:t>
          </a:r>
          <a:endParaRPr lang="it-IT" sz="1000" kern="1200" dirty="0"/>
        </a:p>
      </dsp:txBody>
      <dsp:txXfrm>
        <a:off x="19419" y="97106"/>
        <a:ext cx="2182772" cy="35896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7320C9-9B3C-43B0-ABDA-0630C0911D53}">
      <dsp:nvSpPr>
        <dsp:cNvPr id="0" name=""/>
        <dsp:cNvSpPr/>
      </dsp:nvSpPr>
      <dsp:spPr>
        <a:xfrm>
          <a:off x="0" y="0"/>
          <a:ext cx="2221610" cy="60489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rtl="0">
            <a:lnSpc>
              <a:spcPct val="90000"/>
            </a:lnSpc>
            <a:spcBef>
              <a:spcPct val="0"/>
            </a:spcBef>
            <a:spcAft>
              <a:spcPct val="35000"/>
            </a:spcAft>
          </a:pPr>
          <a:r>
            <a:rPr lang="it-IT" sz="1100" kern="1200" dirty="0" smtClean="0"/>
            <a:t>Applicazioni delle KET s ai settori esistenti con maggiori potenzialità di sviluppo competitivo</a:t>
          </a:r>
          <a:endParaRPr lang="it-IT" sz="1100" kern="1200" dirty="0"/>
        </a:p>
      </dsp:txBody>
      <dsp:txXfrm>
        <a:off x="29528" y="29528"/>
        <a:ext cx="2162554" cy="5458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72158-CB87-4623-BAB3-0A89D8A44D36}">
      <dsp:nvSpPr>
        <dsp:cNvPr id="0" name=""/>
        <dsp:cNvSpPr/>
      </dsp:nvSpPr>
      <dsp:spPr>
        <a:xfrm>
          <a:off x="0" y="242"/>
          <a:ext cx="2221610"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Creazione di un nuovo tessuto produttivo innovation based</a:t>
          </a:r>
          <a:endParaRPr lang="it-IT" sz="1000" kern="1200" dirty="0"/>
        </a:p>
      </dsp:txBody>
      <dsp:txXfrm>
        <a:off x="19419" y="19661"/>
        <a:ext cx="2182772" cy="3589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6234" y="-577148"/>
          <a:ext cx="3970959"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I partecipanti al tavolo hanno il compito di </a:t>
          </a:r>
          <a:r>
            <a:rPr lang="it-IT" sz="3600" b="0" u="sng" kern="1200" dirty="0" smtClean="0">
              <a:solidFill>
                <a:srgbClr val="FF0000"/>
              </a:solidFill>
            </a:rPr>
            <a:t>condividere e fornire  conoscenze </a:t>
          </a:r>
          <a:r>
            <a:rPr lang="it-IT" sz="3600" b="0" kern="1200" dirty="0" smtClean="0">
              <a:solidFill>
                <a:schemeClr val="accent1"/>
              </a:solidFill>
            </a:rPr>
            <a:t>in termini di analisi, diagnosi, </a:t>
          </a:r>
          <a:r>
            <a:rPr lang="it-IT" sz="3600" b="0" kern="1200" dirty="0" err="1" smtClean="0">
              <a:solidFill>
                <a:schemeClr val="accent1"/>
              </a:solidFill>
            </a:rPr>
            <a:t>vision</a:t>
          </a:r>
          <a:r>
            <a:rPr lang="it-IT" sz="3600" b="0" kern="1200" dirty="0" smtClean="0">
              <a:solidFill>
                <a:schemeClr val="accent1"/>
              </a:solidFill>
            </a:rPr>
            <a:t> per </a:t>
          </a:r>
          <a:r>
            <a:rPr lang="it-IT" sz="3600" b="0" u="sng" kern="1200" dirty="0" smtClean="0">
              <a:solidFill>
                <a:srgbClr val="FF0000"/>
              </a:solidFill>
            </a:rPr>
            <a:t>completare</a:t>
          </a:r>
          <a:r>
            <a:rPr lang="it-IT" sz="3600" b="0" kern="1200" dirty="0" smtClean="0">
              <a:solidFill>
                <a:schemeClr val="accent1"/>
              </a:solidFill>
            </a:rPr>
            <a:t>  la definizione della RIS 3 Sicilia</a:t>
          </a:r>
          <a:endParaRPr lang="it-IT" sz="3600" b="0" kern="1200" dirty="0">
            <a:solidFill>
              <a:schemeClr val="accent1"/>
            </a:solidFill>
          </a:endParaRPr>
        </a:p>
      </dsp:txBody>
      <dsp:txXfrm rot="-5400000">
        <a:off x="3214437" y="488495"/>
        <a:ext cx="5520708" cy="3583267"/>
      </dsp:txXfrm>
    </dsp:sp>
    <dsp:sp modelId="{4B75031E-EAE2-44AE-A204-79AAE3CD8BF2}">
      <dsp:nvSpPr>
        <dsp:cNvPr id="0" name=""/>
        <dsp:cNvSpPr/>
      </dsp:nvSpPr>
      <dsp:spPr>
        <a:xfrm>
          <a:off x="0" y="0"/>
          <a:ext cx="3214437"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6210" tIns="78105" rIns="156210" bIns="78105" numCol="1" spcCol="1270" anchor="ctr" anchorCtr="0">
          <a:noAutofit/>
        </a:bodyPr>
        <a:lstStyle/>
        <a:p>
          <a:pPr lvl="0" algn="ctr" defTabSz="1822450">
            <a:lnSpc>
              <a:spcPct val="90000"/>
            </a:lnSpc>
            <a:spcBef>
              <a:spcPct val="0"/>
            </a:spcBef>
            <a:spcAft>
              <a:spcPct val="35000"/>
            </a:spcAft>
          </a:pPr>
          <a:r>
            <a:rPr lang="it-IT" sz="4100" b="1" kern="1200" dirty="0" smtClean="0"/>
            <a:t>APPROCCIO BOTTOM UP</a:t>
          </a:r>
          <a:endParaRPr lang="it-IT" sz="4100" b="1" kern="1200" dirty="0"/>
        </a:p>
      </dsp:txBody>
      <dsp:txXfrm>
        <a:off x="156916" y="156916"/>
        <a:ext cx="2900605" cy="4649867"/>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ACD3-EE37-4975-9E62-2F328C6C370E}">
      <dsp:nvSpPr>
        <dsp:cNvPr id="0" name=""/>
        <dsp:cNvSpPr/>
      </dsp:nvSpPr>
      <dsp:spPr>
        <a:xfrm>
          <a:off x="0" y="2"/>
          <a:ext cx="2221610" cy="7850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rtl="0">
            <a:lnSpc>
              <a:spcPct val="90000"/>
            </a:lnSpc>
            <a:spcBef>
              <a:spcPct val="0"/>
            </a:spcBef>
            <a:spcAft>
              <a:spcPct val="35000"/>
            </a:spcAft>
          </a:pPr>
          <a:r>
            <a:rPr lang="it-IT" sz="1100" kern="1200" dirty="0" smtClean="0"/>
            <a:t>Sostegno all’uso diffuso delle Innovazioni  (anche non </a:t>
          </a:r>
          <a:r>
            <a:rPr lang="it-IT" sz="1100" kern="1200" dirty="0" err="1" smtClean="0"/>
            <a:t>tech</a:t>
          </a:r>
          <a:r>
            <a:rPr lang="it-IT" sz="1100" kern="1200" dirty="0" smtClean="0"/>
            <a:t>) in risposta alle sfide sociali emergenti negli ambienti urbani e marginali</a:t>
          </a:r>
          <a:endParaRPr lang="it-IT" sz="1100" kern="1200" dirty="0"/>
        </a:p>
      </dsp:txBody>
      <dsp:txXfrm>
        <a:off x="38324" y="38326"/>
        <a:ext cx="2144962" cy="708422"/>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AD86E-5163-40B0-AE34-CC51738A6EFB}">
      <dsp:nvSpPr>
        <dsp:cNvPr id="0" name=""/>
        <dsp:cNvSpPr/>
      </dsp:nvSpPr>
      <dsp:spPr>
        <a:xfrm>
          <a:off x="0" y="0"/>
          <a:ext cx="2221610"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Sostegno a nuove categorie di innovatori sociali e di creativi  culturali </a:t>
          </a:r>
          <a:endParaRPr lang="it-IT" sz="1000" kern="1200" dirty="0"/>
        </a:p>
      </dsp:txBody>
      <dsp:txXfrm>
        <a:off x="19419" y="19419"/>
        <a:ext cx="2182772" cy="358962"/>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7FA22-3B92-4733-BB85-6986F285FB2A}">
      <dsp:nvSpPr>
        <dsp:cNvPr id="0" name=""/>
        <dsp:cNvSpPr/>
      </dsp:nvSpPr>
      <dsp:spPr>
        <a:xfrm>
          <a:off x="0" y="0"/>
          <a:ext cx="7187995" cy="617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rtl="0">
            <a:lnSpc>
              <a:spcPct val="90000"/>
            </a:lnSpc>
            <a:spcBef>
              <a:spcPct val="0"/>
            </a:spcBef>
            <a:spcAft>
              <a:spcPct val="35000"/>
            </a:spcAft>
          </a:pPr>
          <a:r>
            <a:rPr lang="it-IT" sz="1100" kern="1200" dirty="0" smtClean="0"/>
            <a:t>Diffusione della cultura dell’innovazione a tutti i livelli della società regionale</a:t>
          </a:r>
          <a:endParaRPr lang="it-IT" sz="1100" kern="1200" dirty="0"/>
        </a:p>
      </dsp:txBody>
      <dsp:txXfrm>
        <a:off x="30157" y="30157"/>
        <a:ext cx="7127681" cy="557446"/>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754" y="193559"/>
          <a:ext cx="379955" cy="37995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0732" y="193559"/>
          <a:ext cx="2027202" cy="379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ccordi di Programma/I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r>
            <a:rPr lang="it-IT" sz="1500" i="1" kern="1200" dirty="0" smtClean="0">
              <a:latin typeface="Calibri" panose="020F0502020204030204" pitchFamily="34" charset="0"/>
            </a:rPr>
            <a:t>Procedure negoziali </a:t>
          </a:r>
          <a:endParaRPr lang="it-IT" sz="1500" i="1" kern="1200" dirty="0">
            <a:latin typeface="Calibri" panose="020F0502020204030204" pitchFamily="34" charset="0"/>
          </a:endParaRPr>
        </a:p>
      </dsp:txBody>
      <dsp:txXfrm>
        <a:off x="290732" y="193559"/>
        <a:ext cx="2027202" cy="37995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984" y="139301"/>
          <a:ext cx="380822" cy="38082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1395" y="139301"/>
          <a:ext cx="2031827" cy="380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ntratti di Rete</a:t>
          </a:r>
        </a:p>
        <a:p>
          <a:pPr lvl="0" algn="l" defTabSz="666750" rtl="0">
            <a:lnSpc>
              <a:spcPct val="100000"/>
            </a:lnSpc>
            <a:spcBef>
              <a:spcPct val="0"/>
            </a:spcBef>
            <a:spcAft>
              <a:spcPts val="0"/>
            </a:spcAft>
          </a:pPr>
          <a:r>
            <a:rPr lang="it-IT" sz="1500" b="1" kern="1200" dirty="0" smtClean="0">
              <a:latin typeface="Calibri" panose="020F0502020204030204" pitchFamily="34" charset="0"/>
            </a:rPr>
            <a:t> </a:t>
          </a:r>
          <a:r>
            <a:rPr lang="it-IT" sz="1500" b="0" i="1" kern="1200" dirty="0" smtClean="0">
              <a:latin typeface="Calibri" panose="020F0502020204030204" pitchFamily="34" charset="0"/>
            </a:rPr>
            <a:t>Procedure negoziali </a:t>
          </a:r>
          <a:endParaRPr lang="it-IT" sz="1500" b="0" i="1" kern="1200" dirty="0">
            <a:latin typeface="Calibri" panose="020F0502020204030204" pitchFamily="34" charset="0"/>
          </a:endParaRPr>
        </a:p>
      </dsp:txBody>
      <dsp:txXfrm>
        <a:off x="291395" y="139301"/>
        <a:ext cx="2031827" cy="380822"/>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 Start up e spin off</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4693" y="177902"/>
        <a:ext cx="2194275" cy="411269"/>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Cluster Nazional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finanziamento progetti Horizon 2020 </a:t>
          </a:r>
          <a:endParaRPr lang="it-IT" sz="1500" b="1" i="1" kern="1200" dirty="0">
            <a:latin typeface="Calibri" panose="020F0502020204030204" pitchFamily="34" charset="0"/>
          </a:endParaRPr>
        </a:p>
      </dsp:txBody>
      <dsp:txXfrm>
        <a:off x="315732" y="177223"/>
        <a:ext cx="2201520" cy="412627"/>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Fondi di Venture Capital  </a:t>
          </a:r>
          <a:endParaRPr lang="it-IT" sz="1500" i="1" kern="1200" dirty="0">
            <a:latin typeface="Calibri" panose="020F0502020204030204" pitchFamily="34" charset="0"/>
          </a:endParaRPr>
        </a:p>
      </dsp:txBody>
      <dsp:txXfrm>
        <a:off x="314693" y="177902"/>
        <a:ext cx="2194275" cy="411269"/>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7421" y="162133"/>
          <a:ext cx="442807" cy="4428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38825" y="162133"/>
          <a:ext cx="2362542" cy="442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just"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Incentivi</a:t>
          </a:r>
        </a:p>
        <a:p>
          <a:pPr lvl="0" algn="l"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a</a:t>
          </a: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brevettazione, prototipazione e copertura costi fase pre seed</a:t>
          </a:r>
          <a:endParaRPr lang="it-IT" sz="1500" b="0" i="1" kern="1200" dirty="0">
            <a:solidFill>
              <a:schemeClr val="tx1"/>
            </a:solidFill>
            <a:latin typeface="Calibri" panose="020F0502020204030204" pitchFamily="34" charset="0"/>
          </a:endParaRPr>
        </a:p>
      </dsp:txBody>
      <dsp:txXfrm>
        <a:off x="338825" y="162133"/>
        <a:ext cx="2362542" cy="4428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osa dobbiamo fare</a:t>
          </a:r>
          <a:endParaRPr lang="it-IT" sz="4000" b="1" kern="1200" dirty="0">
            <a:solidFill>
              <a:schemeClr val="accent1">
                <a:lumMod val="75000"/>
              </a:schemeClr>
            </a:solidFill>
          </a:endParaRPr>
        </a:p>
      </dsp:txBody>
      <dsp:txXfrm>
        <a:off x="0" y="351"/>
        <a:ext cx="7272808" cy="71937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Voucher Tecnologici e all’acquisizione di KIBS  </a:t>
          </a:r>
          <a:endParaRPr lang="it-IT" sz="1500" i="1" kern="1200" dirty="0">
            <a:latin typeface="Calibri" panose="020F0502020204030204" pitchFamily="34" charset="0"/>
          </a:endParaRPr>
        </a:p>
      </dsp:txBody>
      <dsp:txXfrm>
        <a:off x="314693" y="177902"/>
        <a:ext cx="2194275" cy="411269"/>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ll’innovazione sociale</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zioni di attrazione di talen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Procurement</a:t>
          </a:r>
          <a:r>
            <a:rPr lang="it-IT" sz="1500" b="1" i="0" kern="1200" baseline="0" dirty="0" smtClean="0">
              <a:latin typeface="Calibri" panose="020F0502020204030204" pitchFamily="34" charset="0"/>
            </a:rPr>
            <a:t> precommerciale</a:t>
          </a:r>
          <a:endParaRPr lang="it-IT" sz="1500" b="1" i="0" kern="1200" dirty="0">
            <a:latin typeface="Calibri" panose="020F0502020204030204" pitchFamily="34" charset="0"/>
          </a:endParaRPr>
        </a:p>
      </dsp:txBody>
      <dsp:txXfrm>
        <a:off x="314693" y="177902"/>
        <a:ext cx="2194275" cy="411269"/>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Living</a:t>
          </a:r>
          <a:r>
            <a:rPr lang="it-IT" sz="1500" b="1" i="0" kern="1200" baseline="0" dirty="0" smtClean="0">
              <a:latin typeface="Calibri" panose="020F0502020204030204" pitchFamily="34" charset="0"/>
            </a:rPr>
            <a:t> Labs e Fab Labs</a:t>
          </a:r>
          <a:endParaRPr lang="it-IT" sz="1500" b="1" i="0" kern="1200" dirty="0">
            <a:latin typeface="Calibri" panose="020F0502020204030204" pitchFamily="34" charset="0"/>
          </a:endParaRPr>
        </a:p>
      </dsp:txBody>
      <dsp:txXfrm>
        <a:off x="313774" y="177701"/>
        <a:ext cx="2196420" cy="411671"/>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a:t>
          </a:r>
          <a:r>
            <a:rPr lang="it-IT" sz="1500" b="1" i="0" kern="1200" baseline="0" dirty="0" smtClean="0">
              <a:latin typeface="Calibri" panose="020F0502020204030204" pitchFamily="34" charset="0"/>
            </a:rPr>
            <a:t> continua e permanente su ICT</a:t>
          </a:r>
          <a:endParaRPr lang="it-IT" sz="1500" b="1" i="0" kern="1200" dirty="0">
            <a:latin typeface="Calibri" panose="020F0502020204030204" pitchFamily="34" charset="0"/>
          </a:endParaRPr>
        </a:p>
      </dsp:txBody>
      <dsp:txXfrm>
        <a:off x="314693" y="177902"/>
        <a:ext cx="2194275" cy="411269"/>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Sostegno a PEI</a:t>
          </a:r>
          <a:endParaRPr lang="it-IT" sz="1500" b="1" i="0" kern="1200" dirty="0">
            <a:latin typeface="Calibri" panose="020F0502020204030204" pitchFamily="34" charset="0"/>
          </a:endParaRPr>
        </a:p>
      </dsp:txBody>
      <dsp:txXfrm>
        <a:off x="313774" y="177701"/>
        <a:ext cx="2196420" cy="411671"/>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 Open </a:t>
          </a:r>
          <a:r>
            <a:rPr lang="it-IT" sz="1500" b="1" i="0" kern="1200" dirty="0" err="1" smtClean="0">
              <a:latin typeface="Calibri" panose="020F0502020204030204" pitchFamily="34" charset="0"/>
            </a:rPr>
            <a:t>Government</a:t>
          </a:r>
          <a:endParaRPr lang="it-IT" sz="1500" b="1" i="0" kern="1200" dirty="0">
            <a:latin typeface="Calibri" panose="020F0502020204030204" pitchFamily="34" charset="0"/>
          </a:endParaRPr>
        </a:p>
      </dsp:txBody>
      <dsp:txXfrm>
        <a:off x="324985" y="171176"/>
        <a:ext cx="2266036" cy="424720"/>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Iniziative pilote di scambio transnazionale</a:t>
          </a:r>
          <a:endParaRPr lang="it-IT" sz="1500" b="1" i="0" kern="1200" dirty="0">
            <a:latin typeface="Calibri" panose="020F0502020204030204" pitchFamily="34" charset="0"/>
          </a:endParaRPr>
        </a:p>
      </dsp:txBody>
      <dsp:txXfrm>
        <a:off x="324985" y="171176"/>
        <a:ext cx="2266036" cy="424720"/>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40DB6F-53FC-4451-8412-D98A1010BCCC}">
      <dsp:nvSpPr>
        <dsp:cNvPr id="0" name=""/>
        <dsp:cNvSpPr/>
      </dsp:nvSpPr>
      <dsp:spPr>
        <a:xfrm>
          <a:off x="0" y="267"/>
          <a:ext cx="4053175" cy="36906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it-IT" sz="1800" b="1" kern="1200" dirty="0" smtClean="0"/>
            <a:t>Delimitazione Perimetro d’Ambito </a:t>
          </a:r>
          <a:endParaRPr lang="it-IT" sz="1800" b="1" kern="1200" dirty="0"/>
        </a:p>
      </dsp:txBody>
      <dsp:txXfrm>
        <a:off x="18016" y="18283"/>
        <a:ext cx="4017143" cy="3330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4293" y="-577348"/>
          <a:ext cx="3974841"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vere il quadro chiaro dove inserire il proprio contribu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Definire le modalità per l’elaborazione e/o l’invio del contributo</a:t>
          </a:r>
          <a:endParaRPr lang="it-IT" sz="3600" b="0" kern="1200" dirty="0">
            <a:solidFill>
              <a:schemeClr val="accent1"/>
            </a:solidFill>
          </a:endParaRPr>
        </a:p>
      </dsp:txBody>
      <dsp:txXfrm rot="-5400000">
        <a:off x="3214437" y="486544"/>
        <a:ext cx="5520518" cy="3586769"/>
      </dsp:txXfrm>
    </dsp:sp>
    <dsp:sp modelId="{4B75031E-EAE2-44AE-A204-79AAE3CD8BF2}">
      <dsp:nvSpPr>
        <dsp:cNvPr id="0" name=""/>
        <dsp:cNvSpPr/>
      </dsp:nvSpPr>
      <dsp:spPr>
        <a:xfrm>
          <a:off x="0" y="0"/>
          <a:ext cx="3214437" cy="4968552"/>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Avvio tavolo</a:t>
          </a:r>
        </a:p>
        <a:p>
          <a:pPr lvl="0" algn="ctr" defTabSz="1955800">
            <a:lnSpc>
              <a:spcPct val="90000"/>
            </a:lnSpc>
            <a:spcBef>
              <a:spcPct val="0"/>
            </a:spcBef>
            <a:spcAft>
              <a:spcPct val="35000"/>
            </a:spcAft>
          </a:pPr>
          <a:r>
            <a:rPr lang="it-IT" sz="4400" b="1" kern="1200" dirty="0" smtClean="0"/>
            <a:t>8 maggio 2014</a:t>
          </a:r>
          <a:endParaRPr lang="it-IT" sz="4400" b="1" kern="1200" dirty="0"/>
        </a:p>
      </dsp:txBody>
      <dsp:txXfrm>
        <a:off x="156916" y="156916"/>
        <a:ext cx="2900605" cy="4654720"/>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5C5E2-5E25-4F86-8C19-90A32DE12900}">
      <dsp:nvSpPr>
        <dsp:cNvPr id="0" name=""/>
        <dsp:cNvSpPr/>
      </dsp:nvSpPr>
      <dsp:spPr>
        <a:xfrm>
          <a:off x="0" y="1831724"/>
          <a:ext cx="1262846" cy="8546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lvl="0" algn="ctr" defTabSz="622300" rtl="0">
            <a:lnSpc>
              <a:spcPct val="90000"/>
            </a:lnSpc>
            <a:spcBef>
              <a:spcPct val="0"/>
            </a:spcBef>
            <a:spcAft>
              <a:spcPct val="35000"/>
            </a:spcAft>
          </a:pPr>
          <a:r>
            <a:rPr lang="it-IT" sz="1400" b="1" kern="1200" dirty="0" smtClean="0"/>
            <a:t>Il contesto europeo</a:t>
          </a:r>
          <a:endParaRPr lang="it-IT" sz="1400" b="1" kern="1200" dirty="0"/>
        </a:p>
      </dsp:txBody>
      <dsp:txXfrm>
        <a:off x="0" y="1831724"/>
        <a:ext cx="1262846" cy="854688"/>
      </dsp:txXfrm>
    </dsp:sp>
    <dsp:sp modelId="{379B0A50-5782-4FE7-BA42-0F6C7D5ABCE7}">
      <dsp:nvSpPr>
        <dsp:cNvPr id="0" name=""/>
        <dsp:cNvSpPr/>
      </dsp:nvSpPr>
      <dsp:spPr>
        <a:xfrm>
          <a:off x="1063563" y="44180"/>
          <a:ext cx="524525" cy="4468856"/>
        </a:xfrm>
        <a:prstGeom prst="leftBrace">
          <a:avLst>
            <a:gd name="adj1" fmla="val 35000"/>
            <a:gd name="adj2" fmla="val 50000"/>
          </a:avLst>
        </a:pr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05214C-C233-4AAE-B814-6AD35E8BB61C}">
      <dsp:nvSpPr>
        <dsp:cNvPr id="0" name=""/>
        <dsp:cNvSpPr/>
      </dsp:nvSpPr>
      <dsp:spPr>
        <a:xfrm>
          <a:off x="0" y="0"/>
          <a:ext cx="6068740" cy="786503"/>
        </a:xfrm>
        <a:prstGeom prst="round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45720" rIns="45720" bIns="45720" numCol="1" spcCol="1270" anchor="ctr" anchorCtr="0">
          <a:noAutofit/>
        </a:bodyPr>
        <a:lstStyle/>
        <a:p>
          <a:pPr lvl="0" algn="just" defTabSz="533400" rtl="0">
            <a:lnSpc>
              <a:spcPct val="90000"/>
            </a:lnSpc>
            <a:spcBef>
              <a:spcPct val="0"/>
            </a:spcBef>
            <a:spcAft>
              <a:spcPct val="35000"/>
            </a:spcAft>
          </a:pPr>
          <a:r>
            <a:rPr lang="it-IT" sz="1200" b="1" kern="1200" dirty="0" smtClean="0">
              <a:effectLst/>
            </a:rPr>
            <a:t> </a:t>
          </a:r>
          <a:r>
            <a:rPr lang="it-IT" sz="1100" b="1" kern="1200" dirty="0" smtClean="0">
              <a:latin typeface="+mn-lt"/>
            </a:rPr>
            <a:t>L’Unione Europea, la seconda economia mondiale, consuma un quinto dell’energia prodotta nel mondo, pur possedendo una percentuale molto ridotta di riserve energetiche. Una delle caratteristiche dell’Europa consiste nella sua dipendenza energetica dall’estero.</a:t>
          </a:r>
          <a:endParaRPr lang="it-IT" sz="1100" b="1" kern="1200" dirty="0">
            <a:effectLst/>
            <a:latin typeface="+mn-lt"/>
          </a:endParaRPr>
        </a:p>
      </dsp:txBody>
      <dsp:txXfrm>
        <a:off x="38394" y="38394"/>
        <a:ext cx="5991952" cy="709715"/>
      </dsp:txXfrm>
    </dsp:sp>
    <dsp:sp modelId="{F6F23AA0-DA68-4A08-B47A-3D19112A1993}">
      <dsp:nvSpPr>
        <dsp:cNvPr id="0" name=""/>
        <dsp:cNvSpPr/>
      </dsp:nvSpPr>
      <dsp:spPr>
        <a:xfrm>
          <a:off x="0" y="953790"/>
          <a:ext cx="6068740" cy="990426"/>
        </a:xfrm>
        <a:prstGeom prst="roundRect">
          <a:avLst/>
        </a:prstGeom>
        <a:gradFill rotWithShape="0">
          <a:gsLst>
            <a:gs pos="0">
              <a:schemeClr val="accent4">
                <a:hueOff val="-1488257"/>
                <a:satOff val="8966"/>
                <a:lumOff val="719"/>
                <a:alphaOff val="0"/>
                <a:shade val="51000"/>
                <a:satMod val="130000"/>
              </a:schemeClr>
            </a:gs>
            <a:gs pos="80000">
              <a:schemeClr val="accent4">
                <a:hueOff val="-1488257"/>
                <a:satOff val="8966"/>
                <a:lumOff val="719"/>
                <a:alphaOff val="0"/>
                <a:shade val="93000"/>
                <a:satMod val="130000"/>
              </a:schemeClr>
            </a:gs>
            <a:gs pos="100000">
              <a:schemeClr val="accent4">
                <a:hueOff val="-1488257"/>
                <a:satOff val="8966"/>
                <a:lumOff val="719"/>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just" defTabSz="488950" rtl="0">
            <a:lnSpc>
              <a:spcPct val="90000"/>
            </a:lnSpc>
            <a:spcBef>
              <a:spcPct val="0"/>
            </a:spcBef>
            <a:spcAft>
              <a:spcPct val="35000"/>
            </a:spcAft>
          </a:pPr>
          <a:r>
            <a:rPr lang="it-IT" sz="1100" b="1" kern="1200" dirty="0" smtClean="0">
              <a:latin typeface="+mn-lt"/>
            </a:rPr>
            <a:t>Le crescenti preoccupazioni legate alla sicurezza dell’approvvigionamento energetico da un lato e gli effetti negativi legati alla produzione di energia mediante l’impiego di risorse fossili, hanno collocato il tema dell’accesso a fonti energetiche pulite e sostenibili, da alcuni decenni a questa parte, al centro dell’agenda politica europea, tanto da fare dell’UE, un soggetto pioniere nell’adozioni di policy energetiche sempre più ambiziose. </a:t>
          </a:r>
          <a:endParaRPr lang="it-IT" sz="1100" b="1" kern="1200" dirty="0">
            <a:latin typeface="+mn-lt"/>
          </a:endParaRPr>
        </a:p>
      </dsp:txBody>
      <dsp:txXfrm>
        <a:off x="48349" y="1002139"/>
        <a:ext cx="5972042" cy="893728"/>
      </dsp:txXfrm>
    </dsp:sp>
    <dsp:sp modelId="{3711621F-63AC-4E08-B3C3-54E96E74B109}">
      <dsp:nvSpPr>
        <dsp:cNvPr id="0" name=""/>
        <dsp:cNvSpPr/>
      </dsp:nvSpPr>
      <dsp:spPr>
        <a:xfrm>
          <a:off x="0" y="2028683"/>
          <a:ext cx="6068740" cy="663594"/>
        </a:xfrm>
        <a:prstGeom prst="roundRect">
          <a:avLst/>
        </a:prstGeom>
        <a:gradFill rotWithShape="0">
          <a:gsLst>
            <a:gs pos="0">
              <a:schemeClr val="accent4">
                <a:hueOff val="-2976513"/>
                <a:satOff val="17933"/>
                <a:lumOff val="1437"/>
                <a:alphaOff val="0"/>
                <a:shade val="51000"/>
                <a:satMod val="130000"/>
              </a:schemeClr>
            </a:gs>
            <a:gs pos="80000">
              <a:schemeClr val="accent4">
                <a:hueOff val="-2976513"/>
                <a:satOff val="17933"/>
                <a:lumOff val="1437"/>
                <a:alphaOff val="0"/>
                <a:shade val="93000"/>
                <a:satMod val="130000"/>
              </a:schemeClr>
            </a:gs>
            <a:gs pos="100000">
              <a:schemeClr val="accent4">
                <a:hueOff val="-2976513"/>
                <a:satOff val="17933"/>
                <a:lumOff val="143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just" defTabSz="488950" rtl="0">
            <a:lnSpc>
              <a:spcPct val="90000"/>
            </a:lnSpc>
            <a:spcBef>
              <a:spcPct val="0"/>
            </a:spcBef>
            <a:spcAft>
              <a:spcPct val="35000"/>
            </a:spcAft>
          </a:pPr>
          <a:r>
            <a:rPr lang="it-IT" sz="1100" b="1" kern="1200" dirty="0" smtClean="0">
              <a:latin typeface="+mn-lt"/>
            </a:rPr>
            <a:t>In questa direzione, l’obiettivo della politica energetica europea è quello di abbassare le emissioni di CO2 e di operare una trasformazione del sistema che privilegi un'economia a basse emissioni di carbonio ed estremamente efficiente sotto il profilo energetico</a:t>
          </a:r>
          <a:r>
            <a:rPr lang="it-IT" sz="1100" b="1" kern="1200" baseline="30000" dirty="0" smtClean="0">
              <a:uFillTx/>
              <a:latin typeface="+mn-lt"/>
            </a:rPr>
            <a:t>.</a:t>
          </a:r>
          <a:r>
            <a:rPr lang="it-IT" sz="1100" b="1" kern="1200" dirty="0" smtClean="0">
              <a:uFillTx/>
              <a:latin typeface="+mn-lt"/>
            </a:rPr>
            <a:t>  </a:t>
          </a:r>
          <a:endParaRPr lang="it-IT" sz="1100" b="1" kern="1200" dirty="0">
            <a:effectLst/>
            <a:latin typeface="+mn-lt"/>
          </a:endParaRPr>
        </a:p>
      </dsp:txBody>
      <dsp:txXfrm>
        <a:off x="32394" y="2061077"/>
        <a:ext cx="6003952" cy="598806"/>
      </dsp:txXfrm>
    </dsp:sp>
    <dsp:sp modelId="{471C6FC9-E40B-401A-BF61-EAE3F52FB28F}">
      <dsp:nvSpPr>
        <dsp:cNvPr id="0" name=""/>
        <dsp:cNvSpPr/>
      </dsp:nvSpPr>
      <dsp:spPr>
        <a:xfrm>
          <a:off x="0" y="2922465"/>
          <a:ext cx="6068740" cy="1398334"/>
        </a:xfrm>
        <a:prstGeom prst="roundRect">
          <a:avLst/>
        </a:prstGeom>
        <a:gradFill rotWithShape="0">
          <a:gsLst>
            <a:gs pos="0">
              <a:schemeClr val="accent4">
                <a:hueOff val="-4464770"/>
                <a:satOff val="26899"/>
                <a:lumOff val="2156"/>
                <a:alphaOff val="0"/>
                <a:shade val="51000"/>
                <a:satMod val="130000"/>
              </a:schemeClr>
            </a:gs>
            <a:gs pos="80000">
              <a:schemeClr val="accent4">
                <a:hueOff val="-4464770"/>
                <a:satOff val="26899"/>
                <a:lumOff val="2156"/>
                <a:alphaOff val="0"/>
                <a:shade val="93000"/>
                <a:satMod val="130000"/>
              </a:schemeClr>
            </a:gs>
            <a:gs pos="100000">
              <a:schemeClr val="accent4">
                <a:hueOff val="-4464770"/>
                <a:satOff val="26899"/>
                <a:lumOff val="215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1910" tIns="41910" rIns="41910" bIns="41910" numCol="1" spcCol="1270" anchor="ctr" anchorCtr="0">
          <a:noAutofit/>
        </a:bodyPr>
        <a:lstStyle/>
        <a:p>
          <a:pPr lvl="0" algn="just" defTabSz="488950" rtl="0">
            <a:lnSpc>
              <a:spcPct val="90000"/>
            </a:lnSpc>
            <a:spcBef>
              <a:spcPct val="0"/>
            </a:spcBef>
            <a:spcAft>
              <a:spcPct val="35000"/>
            </a:spcAft>
          </a:pPr>
          <a:r>
            <a:rPr lang="it-IT" sz="1100" b="1" kern="1200" dirty="0" smtClean="0">
              <a:uFillTx/>
              <a:latin typeface="+mn-lt"/>
            </a:rPr>
            <a:t>I pilastri della politica energetica </a:t>
          </a:r>
          <a:r>
            <a:rPr lang="it-IT" sz="1100" b="1" kern="1200" dirty="0" smtClean="0">
              <a:latin typeface="+mn-lt"/>
            </a:rPr>
            <a:t>dell'U.E. sono la  sostenibilità, la sicurezza dell'approvvigionamento e la competitività, elementi che, dapprima, hanno orientato la definizione del Pacchetto Clima 2020 (i cui obiettivi sono la riduzione del 20% delle emissioni inquinanti, la riduzione del 20% dei consumi finali energia prodotta da fonti rinnovabili, e l’incremento del 20% dell’efficienza energetica).</a:t>
          </a:r>
          <a:endParaRPr lang="it-IT" sz="1100" b="1" kern="1200" dirty="0">
            <a:effectLst/>
            <a:latin typeface="+mn-lt"/>
          </a:endParaRPr>
        </a:p>
      </dsp:txBody>
      <dsp:txXfrm>
        <a:off x="68261" y="2990726"/>
        <a:ext cx="5932218" cy="1261812"/>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e tendenze internazionali e nazionali</a:t>
          </a:r>
          <a:endParaRPr lang="it-IT" sz="1200" b="1" kern="1200" dirty="0"/>
        </a:p>
      </dsp:txBody>
      <dsp:txXfrm>
        <a:off x="605078" y="160888"/>
        <a:ext cx="1825125" cy="542320"/>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212715-5FD5-44BA-83DA-378965283B04}">
      <dsp:nvSpPr>
        <dsp:cNvPr id="0" name=""/>
        <dsp:cNvSpPr/>
      </dsp:nvSpPr>
      <dsp:spPr>
        <a:xfrm>
          <a:off x="0" y="143747"/>
          <a:ext cx="7704856"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247FC0-CB4D-4A17-B6A3-F9A1F835F548}">
      <dsp:nvSpPr>
        <dsp:cNvPr id="0" name=""/>
        <dsp:cNvSpPr/>
      </dsp:nvSpPr>
      <dsp:spPr>
        <a:xfrm>
          <a:off x="0" y="143747"/>
          <a:ext cx="7704856" cy="9764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solidFill>
                <a:schemeClr val="bg2">
                  <a:lumMod val="25000"/>
                </a:schemeClr>
              </a:solidFill>
            </a:rPr>
            <a:t>Indagine di Confartigianato rileva che, seppur nel mezzo di una crisi recessiva particolarmente violenta, vi sono alcuni settori – e tra questi le filiere legate alle energie rinnovabili e all’efficienza energetica – che registrano nel periodo una variazione relativa positiva, affermandosi quindi come i settori trainanti della crescita</a:t>
          </a:r>
          <a:endParaRPr lang="it-IT" sz="1400" b="1" kern="1200" dirty="0">
            <a:solidFill>
              <a:schemeClr val="bg2">
                <a:lumMod val="25000"/>
              </a:schemeClr>
            </a:solidFill>
          </a:endParaRPr>
        </a:p>
      </dsp:txBody>
      <dsp:txXfrm>
        <a:off x="0" y="143747"/>
        <a:ext cx="7704856" cy="976494"/>
      </dsp:txXfrm>
    </dsp:sp>
    <dsp:sp modelId="{261AD39B-A269-4693-9639-F6C2D0CCDDB8}">
      <dsp:nvSpPr>
        <dsp:cNvPr id="0" name=""/>
        <dsp:cNvSpPr/>
      </dsp:nvSpPr>
      <dsp:spPr>
        <a:xfrm>
          <a:off x="0" y="1120241"/>
          <a:ext cx="7704856"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357C59-8D94-43FA-BC85-563258B74C9A}">
      <dsp:nvSpPr>
        <dsp:cNvPr id="0" name=""/>
        <dsp:cNvSpPr/>
      </dsp:nvSpPr>
      <dsp:spPr>
        <a:xfrm>
          <a:off x="0" y="1120241"/>
          <a:ext cx="7704856" cy="714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solidFill>
                <a:schemeClr val="bg2">
                  <a:lumMod val="25000"/>
                </a:schemeClr>
              </a:solidFill>
            </a:rPr>
            <a:t>Altro ambito particolarmente rilevante è quello legato all’efficienza energetica: settore particolarmente ampio in quanto abbraccia una pluralità di applicazioni che vanno dai sistemi produttivi, ai trasporti, all’edilizia, etc.</a:t>
          </a:r>
          <a:endParaRPr lang="it-IT" sz="1400" b="1" kern="1200" dirty="0">
            <a:solidFill>
              <a:schemeClr val="bg2">
                <a:lumMod val="25000"/>
              </a:schemeClr>
            </a:solidFill>
          </a:endParaRPr>
        </a:p>
      </dsp:txBody>
      <dsp:txXfrm>
        <a:off x="0" y="1120241"/>
        <a:ext cx="7704856" cy="714605"/>
      </dsp:txXfrm>
    </dsp:sp>
    <dsp:sp modelId="{ECD5D2CF-379B-4CCA-9255-286F60F8987E}">
      <dsp:nvSpPr>
        <dsp:cNvPr id="0" name=""/>
        <dsp:cNvSpPr/>
      </dsp:nvSpPr>
      <dsp:spPr>
        <a:xfrm>
          <a:off x="0" y="1834847"/>
          <a:ext cx="7704856"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EA82B4-7257-4792-B8E4-6F72215ADAAA}">
      <dsp:nvSpPr>
        <dsp:cNvPr id="0" name=""/>
        <dsp:cNvSpPr/>
      </dsp:nvSpPr>
      <dsp:spPr>
        <a:xfrm>
          <a:off x="0" y="1834847"/>
          <a:ext cx="7704856" cy="11177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it-IT" sz="1400" b="1" kern="1200" dirty="0" smtClean="0">
              <a:solidFill>
                <a:schemeClr val="bg2">
                  <a:lumMod val="25000"/>
                </a:schemeClr>
              </a:solidFill>
            </a:rPr>
            <a:t>Oltre alla componente più direttamente riconducibile agli aspetti legati al risparmio energetico nella fase di produzione, un ambito particolarmente rilevante riguarda l’aspetto relativo al minor consumo durante il ciclo di vita dei prodotti</a:t>
          </a:r>
          <a:endParaRPr lang="it-IT" sz="1400" b="1" kern="1200" dirty="0">
            <a:solidFill>
              <a:schemeClr val="bg2">
                <a:lumMod val="25000"/>
              </a:schemeClr>
            </a:solidFill>
          </a:endParaRPr>
        </a:p>
      </dsp:txBody>
      <dsp:txXfrm>
        <a:off x="0" y="1834847"/>
        <a:ext cx="7704856" cy="1117749"/>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e tendenze internazionali e nazionali</a:t>
          </a:r>
          <a:endParaRPr lang="it-IT" sz="1200" b="1" kern="1200" dirty="0"/>
        </a:p>
      </dsp:txBody>
      <dsp:txXfrm>
        <a:off x="605078" y="160888"/>
        <a:ext cx="1825125" cy="542320"/>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1857F7-3F38-486E-9C7F-C0DF74A06BED}">
      <dsp:nvSpPr>
        <dsp:cNvPr id="0" name=""/>
        <dsp:cNvSpPr/>
      </dsp:nvSpPr>
      <dsp:spPr>
        <a:xfrm>
          <a:off x="0" y="0"/>
          <a:ext cx="7704856" cy="2031325"/>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just" defTabSz="711200" rtl="0">
            <a:lnSpc>
              <a:spcPct val="90000"/>
            </a:lnSpc>
            <a:spcBef>
              <a:spcPct val="0"/>
            </a:spcBef>
            <a:spcAft>
              <a:spcPct val="35000"/>
            </a:spcAft>
          </a:pPr>
          <a:r>
            <a:rPr lang="it-IT" sz="1600" b="1" kern="1200" dirty="0" smtClean="0">
              <a:solidFill>
                <a:schemeClr val="bg2">
                  <a:lumMod val="25000"/>
                </a:schemeClr>
              </a:solidFill>
            </a:rPr>
            <a:t>La linea di tendenza è quindi quella di un sempre maggior orientamento verso forme di abitare a basso impatto ambientale e caratterizzate da consumi energetici ridotti, sia nella fase di costruzione quanto in quella di esercizio (riscaldamento/raffrescamento). Ciò richiede soluzioni costruttive ed impiantistiche rinnovate rispetto agli standard tradizionali e apre potenziali di mercato nuovo per un settore –quello edilizio- mediamente caratterizzato da una propensione all’innovazione non significativa</a:t>
          </a:r>
          <a:endParaRPr lang="it-IT" sz="1600" b="1" kern="1200" dirty="0">
            <a:solidFill>
              <a:schemeClr val="bg2">
                <a:lumMod val="25000"/>
              </a:schemeClr>
            </a:solidFill>
          </a:endParaRPr>
        </a:p>
      </dsp:txBody>
      <dsp:txXfrm>
        <a:off x="0" y="0"/>
        <a:ext cx="7704856" cy="2031325"/>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C256FC-9A38-4083-BFE1-F68DE52602FB}">
      <dsp:nvSpPr>
        <dsp:cNvPr id="0" name=""/>
        <dsp:cNvSpPr/>
      </dsp:nvSpPr>
      <dsp:spPr>
        <a:xfrm>
          <a:off x="0" y="351"/>
          <a:ext cx="6048672" cy="719375"/>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just" defTabSz="711200" rtl="0">
            <a:lnSpc>
              <a:spcPct val="90000"/>
            </a:lnSpc>
            <a:spcBef>
              <a:spcPct val="0"/>
            </a:spcBef>
            <a:spcAft>
              <a:spcPct val="35000"/>
            </a:spcAft>
          </a:pPr>
          <a:r>
            <a:rPr lang="it-IT" sz="1600" b="1" kern="1200" dirty="0" smtClean="0">
              <a:solidFill>
                <a:schemeClr val="bg2">
                  <a:lumMod val="25000"/>
                </a:schemeClr>
              </a:solidFill>
            </a:rPr>
            <a:t>Le politiche energetiche definite a livello  comunitario e  recepite a livello nazionale  orientano il mercato verso soluzioni sempre più sostenibili rappresentando per le aziende un’opportunità di crescita.</a:t>
          </a:r>
          <a:endParaRPr lang="it-IT" sz="1600" b="1" kern="1200" dirty="0">
            <a:solidFill>
              <a:schemeClr val="bg2">
                <a:lumMod val="25000"/>
              </a:schemeClr>
            </a:solidFill>
          </a:endParaRPr>
        </a:p>
      </dsp:txBody>
      <dsp:txXfrm>
        <a:off x="0" y="351"/>
        <a:ext cx="6048672" cy="719375"/>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5031E-EAE2-44AE-A204-79AAE3CD8BF2}">
      <dsp:nvSpPr>
        <dsp:cNvPr id="0" name=""/>
        <dsp:cNvSpPr/>
      </dsp:nvSpPr>
      <dsp:spPr>
        <a:xfrm>
          <a:off x="1751" y="0"/>
          <a:ext cx="1792909" cy="4533321"/>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it-IT" sz="2400" b="1" kern="1200" dirty="0" smtClean="0"/>
            <a:t>TAVOLI TEMATICI</a:t>
          </a:r>
          <a:endParaRPr lang="it-IT" sz="2400" b="1" kern="1200" dirty="0"/>
        </a:p>
      </dsp:txBody>
      <dsp:txXfrm>
        <a:off x="89274" y="87523"/>
        <a:ext cx="1617863" cy="4358275"/>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6FA827-A18D-4D12-975C-89F7224F3D1F}">
      <dsp:nvSpPr>
        <dsp:cNvPr id="0" name=""/>
        <dsp:cNvSpPr/>
      </dsp:nvSpPr>
      <dsp:spPr>
        <a:xfrm>
          <a:off x="3058" y="0"/>
          <a:ext cx="6258578" cy="1152128"/>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just" defTabSz="800100" rtl="0">
            <a:lnSpc>
              <a:spcPct val="90000"/>
            </a:lnSpc>
            <a:spcBef>
              <a:spcPct val="0"/>
            </a:spcBef>
            <a:spcAft>
              <a:spcPct val="35000"/>
            </a:spcAft>
          </a:pPr>
          <a:r>
            <a:rPr lang="it-IT" sz="1800" b="1" kern="1200" dirty="0" smtClean="0">
              <a:solidFill>
                <a:schemeClr val="bg2">
                  <a:lumMod val="25000"/>
                </a:schemeClr>
              </a:solidFill>
            </a:rPr>
            <a:t>Si osserva come la Sicilia al momento non possa vantare un’esperienza consolidata nella produzione di tecnologie per lo sfruttamento e il risparmio energetico. Si rilevano tuttavia alcuni significativi elementi che - se opportunamente orientati-  permetterebbero l'avvio di un processo di trasformazione in senso innovativo di alcune delle componenti dell'economia produttiva a livello </a:t>
          </a:r>
          <a:r>
            <a:rPr lang="it-IT" sz="1800" b="1" kern="1200" dirty="0" smtClean="0">
              <a:solidFill>
                <a:schemeClr val="bg2">
                  <a:lumMod val="25000"/>
                </a:schemeClr>
              </a:solidFill>
            </a:rPr>
            <a:t>regionale.</a:t>
          </a:r>
          <a:endParaRPr lang="it-IT" sz="1800" b="1" i="1" kern="1200" dirty="0">
            <a:solidFill>
              <a:schemeClr val="bg2">
                <a:lumMod val="25000"/>
              </a:schemeClr>
            </a:solidFill>
          </a:endParaRPr>
        </a:p>
      </dsp:txBody>
      <dsp:txXfrm>
        <a:off x="3058" y="0"/>
        <a:ext cx="6258578" cy="345638"/>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2. 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Competenze scientifiche e tecnologiche</a:t>
          </a:r>
          <a:endParaRPr lang="it-IT" sz="1200" b="1" kern="1200" dirty="0"/>
        </a:p>
      </dsp:txBody>
      <dsp:txXfrm>
        <a:off x="605078" y="160888"/>
        <a:ext cx="1825125" cy="542320"/>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305EC0-DD22-4DEF-B461-A699C37567B1}">
      <dsp:nvSpPr>
        <dsp:cNvPr id="0" name=""/>
        <dsp:cNvSpPr/>
      </dsp:nvSpPr>
      <dsp:spPr>
        <a:xfrm rot="16200000">
          <a:off x="-929634"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rtl="0">
            <a:lnSpc>
              <a:spcPct val="90000"/>
            </a:lnSpc>
            <a:spcBef>
              <a:spcPct val="0"/>
            </a:spcBef>
            <a:spcAft>
              <a:spcPct val="35000"/>
            </a:spcAft>
          </a:pPr>
          <a:r>
            <a:rPr lang="it-IT" sz="1200" b="1" kern="1200" dirty="0" smtClean="0"/>
            <a:t>Sistemi fotovoltaici a silicio &amp; fotovoltaico di terza generazione</a:t>
          </a:r>
          <a:endParaRPr lang="it-IT" sz="1200" b="1" kern="1200" dirty="0"/>
        </a:p>
      </dsp:txBody>
      <dsp:txXfrm rot="5400000">
        <a:off x="4220" y="576063"/>
        <a:ext cx="1012612" cy="1728192"/>
      </dsp:txXfrm>
    </dsp:sp>
    <dsp:sp modelId="{0986A703-EDCB-420F-A496-20F1F0753B2C}">
      <dsp:nvSpPr>
        <dsp:cNvPr id="0" name=""/>
        <dsp:cNvSpPr/>
      </dsp:nvSpPr>
      <dsp:spPr>
        <a:xfrm rot="16200000">
          <a:off x="158923"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Celle a Combustibile </a:t>
          </a:r>
          <a:endParaRPr lang="it-IT" sz="1200" b="1" kern="1200" dirty="0"/>
        </a:p>
      </dsp:txBody>
      <dsp:txXfrm rot="5400000">
        <a:off x="1092777" y="576063"/>
        <a:ext cx="1012612" cy="1728192"/>
      </dsp:txXfrm>
    </dsp:sp>
    <dsp:sp modelId="{9F624E28-12CC-434F-8E3A-C971BAAC65ED}">
      <dsp:nvSpPr>
        <dsp:cNvPr id="0" name=""/>
        <dsp:cNvSpPr/>
      </dsp:nvSpPr>
      <dsp:spPr>
        <a:xfrm rot="16200000">
          <a:off x="1247482"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Produzione di idrogeno </a:t>
          </a:r>
          <a:endParaRPr lang="it-IT" sz="1200" b="1" kern="1200" dirty="0"/>
        </a:p>
      </dsp:txBody>
      <dsp:txXfrm rot="5400000">
        <a:off x="2181336" y="576063"/>
        <a:ext cx="1012612" cy="1728192"/>
      </dsp:txXfrm>
    </dsp:sp>
    <dsp:sp modelId="{308AC4B2-D69D-4596-8743-7D78C4A4968D}">
      <dsp:nvSpPr>
        <dsp:cNvPr id="0" name=""/>
        <dsp:cNvSpPr/>
      </dsp:nvSpPr>
      <dsp:spPr>
        <a:xfrm rot="16200000">
          <a:off x="2336040"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err="1" smtClean="0"/>
            <a:t>Micro&amp;mini-eolico</a:t>
          </a:r>
          <a:r>
            <a:rPr lang="it-IT" sz="1200" b="1" kern="1200" dirty="0" smtClean="0"/>
            <a:t> </a:t>
          </a:r>
          <a:endParaRPr lang="it-IT" sz="1200" b="1" kern="1200" dirty="0"/>
        </a:p>
      </dsp:txBody>
      <dsp:txXfrm rot="5400000">
        <a:off x="3269894" y="576063"/>
        <a:ext cx="1012612" cy="1728192"/>
      </dsp:txXfrm>
    </dsp:sp>
    <dsp:sp modelId="{D8E5CDA8-132D-402B-B237-FA42607A4D07}">
      <dsp:nvSpPr>
        <dsp:cNvPr id="0" name=""/>
        <dsp:cNvSpPr/>
      </dsp:nvSpPr>
      <dsp:spPr>
        <a:xfrm rot="16200000">
          <a:off x="3424599"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Biomasse &amp; Biocombustibile </a:t>
          </a:r>
          <a:endParaRPr lang="it-IT" sz="1200" b="1" kern="1200" dirty="0"/>
        </a:p>
      </dsp:txBody>
      <dsp:txXfrm rot="5400000">
        <a:off x="4358453" y="576063"/>
        <a:ext cx="1012612" cy="1728192"/>
      </dsp:txXfrm>
    </dsp:sp>
    <dsp:sp modelId="{27A40E25-E489-4170-A8F6-79CDF74BF2A3}">
      <dsp:nvSpPr>
        <dsp:cNvPr id="0" name=""/>
        <dsp:cNvSpPr/>
      </dsp:nvSpPr>
      <dsp:spPr>
        <a:xfrm rot="16200000">
          <a:off x="4513157"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Efficienza Energetica &amp; Smart Techno </a:t>
          </a:r>
          <a:endParaRPr lang="it-IT" sz="1200" b="1" kern="1200" dirty="0"/>
        </a:p>
      </dsp:txBody>
      <dsp:txXfrm rot="5400000">
        <a:off x="5447011" y="576063"/>
        <a:ext cx="1012612" cy="1728192"/>
      </dsp:txXfrm>
    </dsp:sp>
    <dsp:sp modelId="{CBB45064-7B56-4C45-8E54-FC2D3FAB836E}">
      <dsp:nvSpPr>
        <dsp:cNvPr id="0" name=""/>
        <dsp:cNvSpPr/>
      </dsp:nvSpPr>
      <dsp:spPr>
        <a:xfrm rot="16200000">
          <a:off x="5601716"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Solare termico </a:t>
          </a:r>
          <a:endParaRPr lang="it-IT" sz="1200" b="1" kern="1200" dirty="0"/>
        </a:p>
      </dsp:txBody>
      <dsp:txXfrm rot="5400000">
        <a:off x="6535570" y="576063"/>
        <a:ext cx="1012612" cy="1728192"/>
      </dsp:txXfrm>
    </dsp:sp>
    <dsp:sp modelId="{4009111B-6F61-4B8B-B265-F919C6399E5E}">
      <dsp:nvSpPr>
        <dsp:cNvPr id="0" name=""/>
        <dsp:cNvSpPr/>
      </dsp:nvSpPr>
      <dsp:spPr>
        <a:xfrm rot="16200000">
          <a:off x="6690274" y="933853"/>
          <a:ext cx="2880320" cy="1012612"/>
        </a:xfrm>
        <a:prstGeom prst="flowChartManualOperati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76200" bIns="0" numCol="1" spcCol="1270" anchor="ctr" anchorCtr="0">
          <a:noAutofit/>
        </a:bodyPr>
        <a:lstStyle/>
        <a:p>
          <a:pPr lvl="0" algn="ctr" defTabSz="533400">
            <a:lnSpc>
              <a:spcPct val="90000"/>
            </a:lnSpc>
            <a:spcBef>
              <a:spcPct val="0"/>
            </a:spcBef>
            <a:spcAft>
              <a:spcPct val="35000"/>
            </a:spcAft>
          </a:pPr>
          <a:r>
            <a:rPr lang="it-IT" sz="1200" b="1" kern="1200" dirty="0" smtClean="0"/>
            <a:t>Geotermia</a:t>
          </a:r>
          <a:endParaRPr lang="it-IT" sz="1200" b="1" kern="1200" dirty="0"/>
        </a:p>
      </dsp:txBody>
      <dsp:txXfrm rot="5400000">
        <a:off x="7624128" y="576063"/>
        <a:ext cx="1012612" cy="1728192"/>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2. 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Competenze del sistema produttivo</a:t>
          </a:r>
          <a:endParaRPr lang="it-IT" sz="1200" b="1" kern="1200" dirty="0"/>
        </a:p>
      </dsp:txBody>
      <dsp:txXfrm>
        <a:off x="605078" y="160888"/>
        <a:ext cx="1825125" cy="542320"/>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67A7D-84CC-4ABF-B0E6-DF9F283923CF}">
      <dsp:nvSpPr>
        <dsp:cNvPr id="0" name=""/>
        <dsp:cNvSpPr/>
      </dsp:nvSpPr>
      <dsp:spPr>
        <a:xfrm>
          <a:off x="2790" y="470605"/>
          <a:ext cx="2720552" cy="108822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it-IT" sz="2000" kern="1200" dirty="0" smtClean="0"/>
            <a:t>Impegni e scadenze</a:t>
          </a:r>
          <a:endParaRPr lang="it-IT" sz="2000" kern="1200" dirty="0"/>
        </a:p>
      </dsp:txBody>
      <dsp:txXfrm>
        <a:off x="2790" y="470605"/>
        <a:ext cx="2720552" cy="1088220"/>
      </dsp:txXfrm>
    </dsp:sp>
    <dsp:sp modelId="{1BD922C1-C6AF-40E3-BC00-4A2C5AD342A7}">
      <dsp:nvSpPr>
        <dsp:cNvPr id="0" name=""/>
        <dsp:cNvSpPr/>
      </dsp:nvSpPr>
      <dsp:spPr>
        <a:xfrm>
          <a:off x="2790" y="1558826"/>
          <a:ext cx="2720552"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it-IT" sz="2800" kern="1200" dirty="0" smtClean="0"/>
            <a:t>Condivisione piano di lavoro </a:t>
          </a:r>
          <a:endParaRPr lang="it-IT" sz="2800" kern="1200" dirty="0"/>
        </a:p>
      </dsp:txBody>
      <dsp:txXfrm>
        <a:off x="2790" y="1558826"/>
        <a:ext cx="2720552" cy="2810880"/>
      </dsp:txXfrm>
    </dsp:sp>
    <dsp:sp modelId="{7F2A340E-59E4-4175-8854-BFDFADCB71D4}">
      <dsp:nvSpPr>
        <dsp:cNvPr id="0" name=""/>
        <dsp:cNvSpPr/>
      </dsp:nvSpPr>
      <dsp:spPr>
        <a:xfrm>
          <a:off x="3104219" y="470605"/>
          <a:ext cx="2720552" cy="108822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Format contributi </a:t>
          </a:r>
          <a:endParaRPr lang="it-IT" sz="2400" kern="1200" dirty="0"/>
        </a:p>
      </dsp:txBody>
      <dsp:txXfrm>
        <a:off x="3104219" y="470605"/>
        <a:ext cx="2720552" cy="1088220"/>
      </dsp:txXfrm>
    </dsp:sp>
    <dsp:sp modelId="{94513309-A0E9-4D0F-A5A0-10C1399E3A82}">
      <dsp:nvSpPr>
        <dsp:cNvPr id="0" name=""/>
        <dsp:cNvSpPr/>
      </dsp:nvSpPr>
      <dsp:spPr>
        <a:xfrm>
          <a:off x="3104219" y="1558826"/>
          <a:ext cx="2720552"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it-IT" sz="2800" kern="1200" dirty="0" smtClean="0"/>
            <a:t>Presentazione e chiarimenti per la compilazione del format</a:t>
          </a:r>
          <a:endParaRPr lang="it-IT" sz="2800" kern="1200" dirty="0"/>
        </a:p>
      </dsp:txBody>
      <dsp:txXfrm>
        <a:off x="3104219" y="1558826"/>
        <a:ext cx="2720552" cy="2810880"/>
      </dsp:txXfrm>
    </dsp:sp>
    <dsp:sp modelId="{A49B64DD-D913-4BEC-83CF-83365F2FB831}">
      <dsp:nvSpPr>
        <dsp:cNvPr id="0" name=""/>
        <dsp:cNvSpPr/>
      </dsp:nvSpPr>
      <dsp:spPr>
        <a:xfrm>
          <a:off x="6208439" y="470605"/>
          <a:ext cx="2720552" cy="108822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Strumenti e modalità di lavoro</a:t>
          </a:r>
          <a:endParaRPr lang="it-IT" sz="2400" kern="1200" dirty="0"/>
        </a:p>
      </dsp:txBody>
      <dsp:txXfrm>
        <a:off x="6208439" y="470605"/>
        <a:ext cx="2720552" cy="1088220"/>
      </dsp:txXfrm>
    </dsp:sp>
    <dsp:sp modelId="{5E16153D-110E-4957-9859-E9281CCD6FF8}">
      <dsp:nvSpPr>
        <dsp:cNvPr id="0" name=""/>
        <dsp:cNvSpPr/>
      </dsp:nvSpPr>
      <dsp:spPr>
        <a:xfrm>
          <a:off x="6205649" y="1558826"/>
          <a:ext cx="2720552" cy="28108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it-IT" sz="2400" kern="1200" dirty="0" smtClean="0"/>
            <a:t>Forum discussione http://www.innovatoripa.it/groups/strategia-innovazione-sicilia</a:t>
          </a:r>
          <a:endParaRPr lang="it-IT" sz="2400" kern="1200" dirty="0"/>
        </a:p>
      </dsp:txBody>
      <dsp:txXfrm>
        <a:off x="6205649" y="1558826"/>
        <a:ext cx="2720552" cy="2810880"/>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B64DD-D913-4BEC-83CF-83365F2FB831}">
      <dsp:nvSpPr>
        <dsp:cNvPr id="0" name=""/>
        <dsp:cNvSpPr/>
      </dsp:nvSpPr>
      <dsp:spPr>
        <a:xfrm>
          <a:off x="0" y="38557"/>
          <a:ext cx="8928992" cy="1497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Strumenti e modalità di lavoro</a:t>
          </a:r>
          <a:endParaRPr lang="it-IT" sz="2400" kern="1200" dirty="0"/>
        </a:p>
      </dsp:txBody>
      <dsp:txXfrm>
        <a:off x="0" y="38557"/>
        <a:ext cx="8928992" cy="1497600"/>
      </dsp:txXfrm>
    </dsp:sp>
    <dsp:sp modelId="{5E16153D-110E-4957-9859-E9281CCD6FF8}">
      <dsp:nvSpPr>
        <dsp:cNvPr id="0" name=""/>
        <dsp:cNvSpPr/>
      </dsp:nvSpPr>
      <dsp:spPr>
        <a:xfrm>
          <a:off x="0" y="1536157"/>
          <a:ext cx="8928992" cy="25693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it-IT" sz="2400" kern="1200" dirty="0" smtClean="0"/>
            <a:t>Comunità su </a:t>
          </a:r>
          <a:r>
            <a:rPr lang="it-IT" sz="2400" kern="1200" dirty="0" err="1" smtClean="0"/>
            <a:t>InnovatoriPA</a:t>
          </a:r>
          <a:endParaRPr lang="it-IT" sz="2400" kern="1200" dirty="0"/>
        </a:p>
        <a:p>
          <a:pPr marL="228600" lvl="1" indent="-228600" algn="l" defTabSz="1066800">
            <a:lnSpc>
              <a:spcPct val="90000"/>
            </a:lnSpc>
            <a:spcBef>
              <a:spcPct val="0"/>
            </a:spcBef>
            <a:spcAft>
              <a:spcPct val="15000"/>
            </a:spcAft>
            <a:buChar char="••"/>
          </a:pPr>
          <a:r>
            <a:rPr lang="it-IT" sz="2400" kern="1200" dirty="0" smtClean="0"/>
            <a:t>Download documenti (Slide tavolo, Slide Esperto, Piano lavoro, Format contributo)</a:t>
          </a:r>
          <a:endParaRPr lang="it-IT" sz="2400" kern="1200" dirty="0"/>
        </a:p>
        <a:p>
          <a:pPr marL="228600" lvl="1" indent="-228600" algn="l" defTabSz="1066800">
            <a:lnSpc>
              <a:spcPct val="90000"/>
            </a:lnSpc>
            <a:spcBef>
              <a:spcPct val="0"/>
            </a:spcBef>
            <a:spcAft>
              <a:spcPct val="15000"/>
            </a:spcAft>
            <a:buChar char="••"/>
          </a:pPr>
          <a:r>
            <a:rPr lang="it-IT" sz="2400" kern="1200" dirty="0" smtClean="0"/>
            <a:t>Caricamento contributo</a:t>
          </a:r>
          <a:endParaRPr lang="it-IT" sz="2400" kern="1200" dirty="0"/>
        </a:p>
        <a:p>
          <a:pPr marL="228600" lvl="1" indent="-228600" algn="l" defTabSz="1066800">
            <a:lnSpc>
              <a:spcPct val="90000"/>
            </a:lnSpc>
            <a:spcBef>
              <a:spcPct val="0"/>
            </a:spcBef>
            <a:spcAft>
              <a:spcPct val="15000"/>
            </a:spcAft>
            <a:buChar char="••"/>
          </a:pPr>
          <a:r>
            <a:rPr lang="it-IT" sz="2400" kern="1200" dirty="0" smtClean="0"/>
            <a:t>Invio commenti </a:t>
          </a:r>
          <a:endParaRPr lang="it-IT" sz="2400" kern="1200" dirty="0"/>
        </a:p>
        <a:p>
          <a:pPr marL="228600" lvl="1" indent="-228600" algn="l" defTabSz="1066800">
            <a:lnSpc>
              <a:spcPct val="90000"/>
            </a:lnSpc>
            <a:spcBef>
              <a:spcPct val="0"/>
            </a:spcBef>
            <a:spcAft>
              <a:spcPct val="15000"/>
            </a:spcAft>
            <a:buChar char="••"/>
          </a:pPr>
          <a:r>
            <a:rPr lang="it-IT" sz="2400" kern="1200" dirty="0" smtClean="0"/>
            <a:t>E-mail invio allegati: strategia.innovazione@regione.sicilia.it</a:t>
          </a:r>
          <a:endParaRPr lang="it-IT" sz="2400" kern="1200" dirty="0"/>
        </a:p>
      </dsp:txBody>
      <dsp:txXfrm>
        <a:off x="0" y="1536157"/>
        <a:ext cx="8928992" cy="25693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CCAE3-4E5B-4AD4-98CF-C84CFD4B2B61}">
      <dsp:nvSpPr>
        <dsp:cNvPr id="0" name=""/>
        <dsp:cNvSpPr/>
      </dsp:nvSpPr>
      <dsp:spPr>
        <a:xfrm>
          <a:off x="1380422" y="249817"/>
          <a:ext cx="3413760" cy="3413760"/>
        </a:xfrm>
        <a:prstGeom prst="pie">
          <a:avLst>
            <a:gd name="adj1" fmla="val 16200000"/>
            <a:gd name="adj2" fmla="val 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Avvio</a:t>
          </a:r>
          <a:endParaRPr lang="it-IT" sz="1300" kern="1200" dirty="0"/>
        </a:p>
      </dsp:txBody>
      <dsp:txXfrm>
        <a:off x="3192560" y="957360"/>
        <a:ext cx="1259840" cy="934720"/>
      </dsp:txXfrm>
    </dsp:sp>
    <dsp:sp modelId="{F0F6EC78-48FE-4338-9470-51C5945E4C5A}">
      <dsp:nvSpPr>
        <dsp:cNvPr id="0" name=""/>
        <dsp:cNvSpPr/>
      </dsp:nvSpPr>
      <dsp:spPr>
        <a:xfrm>
          <a:off x="1380422" y="364422"/>
          <a:ext cx="3413760" cy="3413760"/>
        </a:xfrm>
        <a:prstGeom prst="pie">
          <a:avLst>
            <a:gd name="adj1" fmla="val 0"/>
            <a:gd name="adj2" fmla="val 54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Elaborazione ed invio contributi</a:t>
          </a:r>
          <a:endParaRPr lang="it-IT" sz="1300" kern="1200" dirty="0"/>
        </a:p>
      </dsp:txBody>
      <dsp:txXfrm>
        <a:off x="3192560" y="2135920"/>
        <a:ext cx="1259840" cy="934720"/>
      </dsp:txXfrm>
    </dsp:sp>
    <dsp:sp modelId="{6474684D-7762-4CD1-A3B4-D72EED99A80F}">
      <dsp:nvSpPr>
        <dsp:cNvPr id="0" name=""/>
        <dsp:cNvSpPr/>
      </dsp:nvSpPr>
      <dsp:spPr>
        <a:xfrm>
          <a:off x="1265817" y="364422"/>
          <a:ext cx="3413760" cy="3413760"/>
        </a:xfrm>
        <a:prstGeom prst="pie">
          <a:avLst>
            <a:gd name="adj1" fmla="val 5400000"/>
            <a:gd name="adj2" fmla="val 108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accolta e sistematizzazione contributi</a:t>
          </a:r>
          <a:endParaRPr lang="it-IT" sz="1300" kern="1200" dirty="0"/>
        </a:p>
      </dsp:txBody>
      <dsp:txXfrm>
        <a:off x="1607600" y="2135920"/>
        <a:ext cx="1259840" cy="934720"/>
      </dsp:txXfrm>
    </dsp:sp>
    <dsp:sp modelId="{2CD97BB5-9B57-47E0-A5C0-4486B247297F}">
      <dsp:nvSpPr>
        <dsp:cNvPr id="0" name=""/>
        <dsp:cNvSpPr/>
      </dsp:nvSpPr>
      <dsp:spPr>
        <a:xfrm>
          <a:off x="1265817" y="249817"/>
          <a:ext cx="3413760" cy="3413760"/>
        </a:xfrm>
        <a:prstGeom prst="pie">
          <a:avLst>
            <a:gd name="adj1" fmla="val 10800000"/>
            <a:gd name="adj2" fmla="val 162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estituzione e condivisione</a:t>
          </a:r>
          <a:endParaRPr lang="it-IT" sz="1300" kern="1200" dirty="0"/>
        </a:p>
      </dsp:txBody>
      <dsp:txXfrm>
        <a:off x="1607600" y="957360"/>
        <a:ext cx="1259840" cy="934720"/>
      </dsp:txXfrm>
    </dsp:sp>
    <dsp:sp modelId="{5CC2729F-211C-496E-9C98-DF70F4BFF7C1}">
      <dsp:nvSpPr>
        <dsp:cNvPr id="0" name=""/>
        <dsp:cNvSpPr/>
      </dsp:nvSpPr>
      <dsp:spPr>
        <a:xfrm>
          <a:off x="1169094" y="38489"/>
          <a:ext cx="3836416" cy="3836416"/>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6E92B4D0-B766-4BEF-AE06-9F28B81EEEE6}">
      <dsp:nvSpPr>
        <dsp:cNvPr id="0" name=""/>
        <dsp:cNvSpPr/>
      </dsp:nvSpPr>
      <dsp:spPr>
        <a:xfrm>
          <a:off x="1169094" y="153094"/>
          <a:ext cx="3836416" cy="3836416"/>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2C8C345A-097E-4D75-B389-7699A21EF75E}">
      <dsp:nvSpPr>
        <dsp:cNvPr id="0" name=""/>
        <dsp:cNvSpPr/>
      </dsp:nvSpPr>
      <dsp:spPr>
        <a:xfrm>
          <a:off x="1049770" y="198018"/>
          <a:ext cx="3836416" cy="3836416"/>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A214AC69-442E-4B0A-9DD7-23F3962569FF}">
      <dsp:nvSpPr>
        <dsp:cNvPr id="0" name=""/>
        <dsp:cNvSpPr/>
      </dsp:nvSpPr>
      <dsp:spPr>
        <a:xfrm>
          <a:off x="1054489" y="38489"/>
          <a:ext cx="3836416" cy="3836416"/>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1.xml><?xml version="1.0" encoding="utf-8"?>
<dgm:layoutDef xmlns:dgm="http://schemas.openxmlformats.org/drawingml/2006/diagram" xmlns:a="http://schemas.openxmlformats.org/drawingml/2006/main" uniqueId="urn:microsoft.com/office/officeart/2005/8/layout/pList2#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0.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9.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1.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1.xml><?xml version="1.0" encoding="utf-8"?>
<dgm:layoutDef xmlns:dgm="http://schemas.openxmlformats.org/drawingml/2006/diagram" xmlns:a="http://schemas.openxmlformats.org/drawingml/2006/main" uniqueId="urn:diagrams.loki3.com/BracketList+Icon">
  <dgm:title val="Elenco verticale con parentesi"/>
  <dgm:desc val="Mostra blocchi di informazioni raggruppate. Risultati ottimali con grandi quantità di testo di livello 2."/>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0.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6.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DD15B6-F593-48AA-B6C6-87E690ABB4E7}" type="datetimeFigureOut">
              <a:rPr lang="it-IT" smtClean="0"/>
              <a:t>10/05/2014</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8A6E7B-AB53-46B8-B429-B1DC7CA9835B}" type="slidenum">
              <a:rPr lang="it-IT" smtClean="0"/>
              <a:t>‹N›</a:t>
            </a:fld>
            <a:endParaRPr lang="it-IT"/>
          </a:p>
        </p:txBody>
      </p:sp>
    </p:spTree>
    <p:extLst>
      <p:ext uri="{BB962C8B-B14F-4D97-AF65-F5344CB8AC3E}">
        <p14:creationId xmlns:p14="http://schemas.microsoft.com/office/powerpoint/2010/main" val="2310384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egnaposto immagine diapositiva 1"/>
          <p:cNvSpPr>
            <a:spLocks noGrp="1" noRot="1" noChangeAspect="1"/>
          </p:cNvSpPr>
          <p:nvPr>
            <p:ph type="sldImg"/>
          </p:nvPr>
        </p:nvSpPr>
        <p:spPr>
          <a:xfrm>
            <a:off x="1143000" y="685800"/>
            <a:ext cx="4572000" cy="3429000"/>
          </a:xfrm>
          <a:ln/>
        </p:spPr>
      </p:sp>
      <p:sp>
        <p:nvSpPr>
          <p:cNvPr id="20482" name="Segnaposto note 2"/>
          <p:cNvSpPr>
            <a:spLocks noGrp="1"/>
          </p:cNvSpPr>
          <p:nvPr>
            <p:ph type="body" idx="1"/>
          </p:nvPr>
        </p:nvSpPr>
        <p:spPr>
          <a:noFill/>
          <a:ln/>
        </p:spPr>
        <p:txBody>
          <a:bodyPr/>
          <a:lstStyle/>
          <a:p>
            <a:endParaRPr lang="it-IT" smtClean="0"/>
          </a:p>
        </p:txBody>
      </p:sp>
      <p:sp>
        <p:nvSpPr>
          <p:cNvPr id="20483" name="Segnaposto numero diapositiva 3"/>
          <p:cNvSpPr>
            <a:spLocks noGrp="1"/>
          </p:cNvSpPr>
          <p:nvPr>
            <p:ph type="sldNum" sz="quarter" idx="5"/>
          </p:nvPr>
        </p:nvSpPr>
        <p:spPr>
          <a:noFill/>
        </p:spPr>
        <p:txBody>
          <a:bodyPr/>
          <a:lstStyle/>
          <a:p>
            <a:pPr defTabSz="902699"/>
            <a:fld id="{849D7E3E-65FA-44BD-9ED2-69951587F243}" type="slidenum">
              <a:rPr lang="en-GB" smtClean="0"/>
              <a:pPr defTabSz="902699"/>
              <a:t>1</a:t>
            </a:fld>
            <a:endParaRPr lang="en-GB" smtClean="0"/>
          </a:p>
        </p:txBody>
      </p:sp>
    </p:spTree>
    <p:extLst>
      <p:ext uri="{BB962C8B-B14F-4D97-AF65-F5344CB8AC3E}">
        <p14:creationId xmlns:p14="http://schemas.microsoft.com/office/powerpoint/2010/main" val="3175073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egnaposto immagine diapositiva 1"/>
          <p:cNvSpPr>
            <a:spLocks noGrp="1" noRot="1" noChangeAspect="1"/>
          </p:cNvSpPr>
          <p:nvPr>
            <p:ph type="sldImg"/>
          </p:nvPr>
        </p:nvSpPr>
        <p:spPr>
          <a:ln/>
        </p:spPr>
      </p:sp>
      <p:sp>
        <p:nvSpPr>
          <p:cNvPr id="33794" name="Segnaposto note 2"/>
          <p:cNvSpPr>
            <a:spLocks noGrp="1"/>
          </p:cNvSpPr>
          <p:nvPr>
            <p:ph type="body" idx="1"/>
          </p:nvPr>
        </p:nvSpPr>
        <p:spPr>
          <a:noFill/>
          <a:ln/>
        </p:spPr>
        <p:txBody>
          <a:bodyPr/>
          <a:lstStyle/>
          <a:p>
            <a:endParaRPr lang="it-IT" smtClean="0"/>
          </a:p>
        </p:txBody>
      </p:sp>
      <p:sp>
        <p:nvSpPr>
          <p:cNvPr id="33795" name="Segnaposto numero diapositiva 3"/>
          <p:cNvSpPr>
            <a:spLocks noGrp="1"/>
          </p:cNvSpPr>
          <p:nvPr>
            <p:ph type="sldNum" sz="quarter" idx="5"/>
          </p:nvPr>
        </p:nvSpPr>
        <p:spPr>
          <a:noFill/>
        </p:spPr>
        <p:txBody>
          <a:bodyPr/>
          <a:lstStyle/>
          <a:p>
            <a:pPr defTabSz="977900"/>
            <a:fld id="{75B8384F-8735-4410-B801-D6CC57CD08A2}" type="slidenum">
              <a:rPr lang="en-GB" smtClean="0"/>
              <a:pPr defTabSz="977900"/>
              <a:t>11</a:t>
            </a:fld>
            <a:endParaRPr lang="en-GB" smtClean="0"/>
          </a:p>
        </p:txBody>
      </p:sp>
    </p:spTree>
    <p:extLst>
      <p:ext uri="{BB962C8B-B14F-4D97-AF65-F5344CB8AC3E}">
        <p14:creationId xmlns:p14="http://schemas.microsoft.com/office/powerpoint/2010/main" val="1989908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egnaposto immagine diapositiva 1"/>
          <p:cNvSpPr>
            <a:spLocks noGrp="1" noRot="1" noChangeAspect="1" noTextEdit="1"/>
          </p:cNvSpPr>
          <p:nvPr>
            <p:ph type="sldImg"/>
          </p:nvPr>
        </p:nvSpPr>
        <p:spPr>
          <a:xfrm>
            <a:off x="990600" y="777875"/>
            <a:ext cx="5116513" cy="3836988"/>
          </a:xfrm>
          <a:solidFill>
            <a:srgbClr val="5B9BD5"/>
          </a:solidFill>
          <a:ln w="12600">
            <a:solidFill>
              <a:srgbClr val="41719C"/>
            </a:solidFill>
          </a:ln>
        </p:spPr>
      </p:sp>
      <p:sp>
        <p:nvSpPr>
          <p:cNvPr id="40962" name="Segnaposto note 2"/>
          <p:cNvSpPr>
            <a:spLocks noGrp="1"/>
          </p:cNvSpPr>
          <p:nvPr>
            <p:ph type="body" sz="quarter" idx="1"/>
          </p:nvPr>
        </p:nvSpPr>
        <p:spPr>
          <a:noFill/>
          <a:ln/>
        </p:spPr>
        <p:txBody>
          <a:bodyPr/>
          <a:lstStyle/>
          <a:p>
            <a:r>
              <a:rPr lang="it-IT" b="1" smtClean="0"/>
              <a:t>1.Azione di feedback e di restituzione (Laboratorio) </a:t>
            </a:r>
            <a:r>
              <a:rPr lang="it-IT" smtClean="0"/>
              <a:t>agli attori coinvolti da parte della Regione degli avanzamenti conseguiti, </a:t>
            </a:r>
            <a:r>
              <a:rPr lang="it-IT" sz="1100" smtClean="0"/>
              <a:t>avvalendosi di una appropriata strategia comunicativa, per confermare la credibilità del processo e della sua conduzione</a:t>
            </a:r>
          </a:p>
          <a:p>
            <a:r>
              <a:rPr lang="it-IT" sz="1100" smtClean="0"/>
              <a:t>4.</a:t>
            </a:r>
            <a:r>
              <a:rPr lang="it-IT" sz="1100" b="1" smtClean="0"/>
              <a:t> Attività di Formalizzazione (con appositi strumenti) della condivisione </a:t>
            </a:r>
            <a:r>
              <a:rPr lang="it-IT" sz="1100" smtClean="0"/>
              <a:t>delle linee portanti della strategia e del piano  d’azione con gli attori rilevanti (a partire da EPR e università)</a:t>
            </a:r>
            <a:endParaRPr lang="it-IT" sz="1000" smtClean="0"/>
          </a:p>
          <a:p>
            <a:endParaRPr lang="it-IT" sz="1100" smtClean="0"/>
          </a:p>
          <a:p>
            <a:endParaRPr lang="it-IT" altLang="it-IT" smtClean="0"/>
          </a:p>
        </p:txBody>
      </p:sp>
    </p:spTree>
    <p:extLst>
      <p:ext uri="{BB962C8B-B14F-4D97-AF65-F5344CB8AC3E}">
        <p14:creationId xmlns:p14="http://schemas.microsoft.com/office/powerpoint/2010/main" val="874644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18</a:t>
            </a:fld>
            <a:endParaRPr lang="en-GB"/>
          </a:p>
        </p:txBody>
      </p:sp>
    </p:spTree>
    <p:extLst>
      <p:ext uri="{BB962C8B-B14F-4D97-AF65-F5344CB8AC3E}">
        <p14:creationId xmlns:p14="http://schemas.microsoft.com/office/powerpoint/2010/main" val="263502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19</a:t>
            </a:fld>
            <a:endParaRPr lang="en-GB"/>
          </a:p>
        </p:txBody>
      </p:sp>
    </p:spTree>
    <p:extLst>
      <p:ext uri="{BB962C8B-B14F-4D97-AF65-F5344CB8AC3E}">
        <p14:creationId xmlns:p14="http://schemas.microsoft.com/office/powerpoint/2010/main" val="846698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28</a:t>
            </a:fld>
            <a:endParaRPr lang="en-GB"/>
          </a:p>
        </p:txBody>
      </p:sp>
    </p:spTree>
    <p:extLst>
      <p:ext uri="{BB962C8B-B14F-4D97-AF65-F5344CB8AC3E}">
        <p14:creationId xmlns:p14="http://schemas.microsoft.com/office/powerpoint/2010/main" val="1597837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solidFill>
                  <a:prstClr val="black"/>
                </a:solidFill>
              </a:rPr>
              <a:pPr>
                <a:defRPr/>
              </a:pPr>
              <a:t>29</a:t>
            </a:fld>
            <a:endParaRPr lang="en-GB">
              <a:solidFill>
                <a:prstClr val="black"/>
              </a:solidFill>
            </a:endParaRPr>
          </a:p>
        </p:txBody>
      </p:sp>
    </p:spTree>
    <p:extLst>
      <p:ext uri="{BB962C8B-B14F-4D97-AF65-F5344CB8AC3E}">
        <p14:creationId xmlns:p14="http://schemas.microsoft.com/office/powerpoint/2010/main" val="7917471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2372520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1359647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4164201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2" name="Picture 49" descr="Logo-FORMEZ-PA-09032010"/>
          <p:cNvPicPr>
            <a:picLocks noChangeAspect="1" noChangeArrowheads="1"/>
          </p:cNvPicPr>
          <p:nvPr userDrawn="1"/>
        </p:nvPicPr>
        <p:blipFill>
          <a:blip r:embed="rId2" cstate="print"/>
          <a:srcRect/>
          <a:stretch>
            <a:fillRect/>
          </a:stretch>
        </p:blipFill>
        <p:spPr bwMode="auto">
          <a:xfrm>
            <a:off x="153866" y="6496050"/>
            <a:ext cx="971550" cy="361950"/>
          </a:xfrm>
          <a:prstGeom prst="rect">
            <a:avLst/>
          </a:prstGeom>
          <a:noFill/>
          <a:ln w="9525">
            <a:noFill/>
            <a:miter lim="800000"/>
            <a:headEnd/>
            <a:tailEnd/>
          </a:ln>
        </p:spPr>
      </p:pic>
      <p:pic>
        <p:nvPicPr>
          <p:cNvPr id="3" name="Picture 2" descr="POAT-LOGO-GENERALE-8"/>
          <p:cNvPicPr>
            <a:picLocks noChangeAspect="1" noChangeArrowheads="1"/>
          </p:cNvPicPr>
          <p:nvPr userDrawn="1"/>
        </p:nvPicPr>
        <p:blipFill>
          <a:blip r:embed="rId3" cstate="print"/>
          <a:srcRect/>
          <a:stretch>
            <a:fillRect/>
          </a:stretch>
        </p:blipFill>
        <p:spPr bwMode="auto">
          <a:xfrm>
            <a:off x="8546123" y="6357939"/>
            <a:ext cx="597877" cy="473075"/>
          </a:xfrm>
          <a:prstGeom prst="rect">
            <a:avLst/>
          </a:prstGeom>
          <a:noFill/>
          <a:ln w="9525">
            <a:noFill/>
            <a:miter lim="800000"/>
            <a:headEnd/>
            <a:tailEnd/>
          </a:ln>
        </p:spPr>
      </p:pic>
      <p:grpSp>
        <p:nvGrpSpPr>
          <p:cNvPr id="4" name="Gruppo 3"/>
          <p:cNvGrpSpPr>
            <a:grpSpLocks/>
          </p:cNvGrpSpPr>
          <p:nvPr userDrawn="1"/>
        </p:nvGrpSpPr>
        <p:grpSpPr bwMode="auto">
          <a:xfrm>
            <a:off x="8792" y="-19050"/>
            <a:ext cx="9144000" cy="646113"/>
            <a:chOff x="-37009" y="-36513"/>
            <a:chExt cx="9143999" cy="894344"/>
          </a:xfrm>
        </p:grpSpPr>
        <p:pic>
          <p:nvPicPr>
            <p:cNvPr id="5" name="Picture 2"/>
            <p:cNvPicPr>
              <a:picLocks noChangeAspect="1" noChangeArrowheads="1"/>
            </p:cNvPicPr>
            <p:nvPr/>
          </p:nvPicPr>
          <p:blipFill>
            <a:blip r:embed="rId4" cstate="print"/>
            <a:srcRect l="4688" t="21562" r="5663" b="66251"/>
            <a:stretch>
              <a:fillRect/>
            </a:stretch>
          </p:blipFill>
          <p:spPr bwMode="auto">
            <a:xfrm>
              <a:off x="-37009" y="0"/>
              <a:ext cx="9143999" cy="857831"/>
            </a:xfrm>
            <a:prstGeom prst="rect">
              <a:avLst/>
            </a:prstGeom>
            <a:noFill/>
            <a:ln w="9525">
              <a:noFill/>
              <a:miter lim="800000"/>
              <a:headEnd/>
              <a:tailEnd/>
            </a:ln>
          </p:spPr>
        </p:pic>
        <p:pic>
          <p:nvPicPr>
            <p:cNvPr id="6" name="Picture 5" descr="jaune"/>
            <p:cNvPicPr>
              <a:picLocks noChangeAspect="1" noChangeArrowheads="1"/>
            </p:cNvPicPr>
            <p:nvPr/>
          </p:nvPicPr>
          <p:blipFill>
            <a:blip r:embed="rId5" cstate="print"/>
            <a:srcRect/>
            <a:stretch>
              <a:fillRect/>
            </a:stretch>
          </p:blipFill>
          <p:spPr bwMode="auto">
            <a:xfrm>
              <a:off x="913731" y="0"/>
              <a:ext cx="800100" cy="546100"/>
            </a:xfrm>
            <a:prstGeom prst="rect">
              <a:avLst/>
            </a:prstGeom>
            <a:noFill/>
            <a:ln w="9525">
              <a:noFill/>
              <a:miter lim="800000"/>
              <a:headEnd/>
              <a:tailEnd/>
            </a:ln>
          </p:spPr>
        </p:pic>
        <p:pic>
          <p:nvPicPr>
            <p:cNvPr id="7" name="Picture 7" descr="stellone"/>
            <p:cNvPicPr>
              <a:picLocks noChangeAspect="1" noChangeArrowheads="1"/>
            </p:cNvPicPr>
            <p:nvPr/>
          </p:nvPicPr>
          <p:blipFill>
            <a:blip r:embed="rId6" cstate="print"/>
            <a:srcRect/>
            <a:stretch>
              <a:fillRect/>
            </a:stretch>
          </p:blipFill>
          <p:spPr bwMode="auto">
            <a:xfrm>
              <a:off x="1907704" y="-36513"/>
              <a:ext cx="533400" cy="619125"/>
            </a:xfrm>
            <a:prstGeom prst="rect">
              <a:avLst/>
            </a:prstGeom>
            <a:noFill/>
            <a:ln w="9525">
              <a:noFill/>
              <a:miter lim="800000"/>
              <a:headEnd/>
              <a:tailEnd/>
            </a:ln>
          </p:spPr>
        </p:pic>
        <p:pic>
          <p:nvPicPr>
            <p:cNvPr id="8" name="Picture 2" descr="Logo_POFesr"/>
            <p:cNvPicPr>
              <a:picLocks noChangeAspect="1" noChangeArrowheads="1"/>
            </p:cNvPicPr>
            <p:nvPr/>
          </p:nvPicPr>
          <p:blipFill>
            <a:blip r:embed="rId7" cstate="print"/>
            <a:srcRect/>
            <a:stretch>
              <a:fillRect/>
            </a:stretch>
          </p:blipFill>
          <p:spPr bwMode="auto">
            <a:xfrm>
              <a:off x="2627784" y="0"/>
              <a:ext cx="827088" cy="692150"/>
            </a:xfrm>
            <a:prstGeom prst="rect">
              <a:avLst/>
            </a:prstGeom>
            <a:noFill/>
            <a:ln w="9525">
              <a:noFill/>
              <a:miter lim="800000"/>
              <a:headEnd/>
              <a:tailEnd/>
            </a:ln>
          </p:spPr>
        </p:pic>
      </p:grpSp>
    </p:spTree>
    <p:extLst>
      <p:ext uri="{BB962C8B-B14F-4D97-AF65-F5344CB8AC3E}">
        <p14:creationId xmlns:p14="http://schemas.microsoft.com/office/powerpoint/2010/main" val="1510724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fld id="{5A4DAF7B-515D-4BF6-8720-51963FCFDAC6}" type="datetimeFigureOut">
              <a:rPr lang="it-IT">
                <a:solidFill>
                  <a:srgbClr val="000000"/>
                </a:solidFill>
              </a:rPr>
              <a:pPr>
                <a:defRPr/>
              </a:pPr>
              <a:t>10/05/2014</a:t>
            </a:fld>
            <a:endParaRPr lang="it-IT">
              <a:solidFill>
                <a:srgbClr val="000000"/>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srgbClr val="000000"/>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eaLnBrk="0" hangingPunct="0">
              <a:defRPr>
                <a:cs typeface="+mn-cs"/>
              </a:defRPr>
            </a:lvl1pPr>
          </a:lstStyle>
          <a:p>
            <a:pPr>
              <a:defRPr/>
            </a:pPr>
            <a:fld id="{0359A34D-25AC-47B8-B735-38BE13EF388C}" type="slidenum">
              <a:rPr lang="it-IT">
                <a:solidFill>
                  <a:srgbClr val="000000"/>
                </a:solidFill>
              </a:rPr>
              <a:pPr>
                <a:defRPr/>
              </a:pPr>
              <a:t>‹N›</a:t>
            </a:fld>
            <a:endParaRPr lang="it-IT">
              <a:solidFill>
                <a:srgbClr val="000000"/>
              </a:solidFill>
            </a:endParaRPr>
          </a:p>
        </p:txBody>
      </p:sp>
    </p:spTree>
    <p:extLst>
      <p:ext uri="{BB962C8B-B14F-4D97-AF65-F5344CB8AC3E}">
        <p14:creationId xmlns:p14="http://schemas.microsoft.com/office/powerpoint/2010/main" val="41530566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3066637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94FCA0ED-0499-48B0-95F7-9A31C310A6B2}" type="datetimeFigureOut">
              <a:rPr lang="it-IT" smtClean="0"/>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1170375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94FCA0ED-0499-48B0-95F7-9A31C310A6B2}" type="datetimeFigureOut">
              <a:rPr lang="it-IT" smtClean="0"/>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2031242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94FCA0ED-0499-48B0-95F7-9A31C310A6B2}" type="datetimeFigureOut">
              <a:rPr lang="it-IT" smtClean="0"/>
              <a:t>10/05/2014</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4206615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94FCA0ED-0499-48B0-95F7-9A31C310A6B2}" type="datetimeFigureOut">
              <a:rPr lang="it-IT" smtClean="0"/>
              <a:t>10/05/2014</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129743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94FCA0ED-0499-48B0-95F7-9A31C310A6B2}" type="datetimeFigureOut">
              <a:rPr lang="it-IT" smtClean="0"/>
              <a:t>10/05/2014</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203069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2769031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t>‹N›</a:t>
            </a:fld>
            <a:endParaRPr lang="it-IT"/>
          </a:p>
        </p:txBody>
      </p:sp>
    </p:spTree>
    <p:extLst>
      <p:ext uri="{BB962C8B-B14F-4D97-AF65-F5344CB8AC3E}">
        <p14:creationId xmlns:p14="http://schemas.microsoft.com/office/powerpoint/2010/main" val="2234201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FCA0ED-0499-48B0-95F7-9A31C310A6B2}" type="datetimeFigureOut">
              <a:rPr lang="it-IT" smtClean="0"/>
              <a:t>10/05/2014</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49D0DC-681A-4576-B520-D24EE24F01C4}" type="slidenum">
              <a:rPr lang="it-IT" smtClean="0"/>
              <a:t>‹N›</a:t>
            </a:fld>
            <a:endParaRPr lang="it-IT"/>
          </a:p>
        </p:txBody>
      </p:sp>
    </p:spTree>
    <p:extLst>
      <p:ext uri="{BB962C8B-B14F-4D97-AF65-F5344CB8AC3E}">
        <p14:creationId xmlns:p14="http://schemas.microsoft.com/office/powerpoint/2010/main" val="41480138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http://www.metaeconomicdevelopment.com/News/PublishingImages/s3.jpg"/>
          <p:cNvPicPr>
            <a:picLocks noChangeAspect="1" noChangeArrowheads="1"/>
          </p:cNvPicPr>
          <p:nvPr userDrawn="1"/>
        </p:nvPicPr>
        <p:blipFill>
          <a:blip r:embed="rId3" cstate="print"/>
          <a:srcRect/>
          <a:stretch>
            <a:fillRect/>
          </a:stretch>
        </p:blipFill>
        <p:spPr bwMode="auto">
          <a:xfrm>
            <a:off x="0" y="714375"/>
            <a:ext cx="2714625" cy="1357313"/>
          </a:xfrm>
          <a:prstGeom prst="rect">
            <a:avLst/>
          </a:prstGeom>
          <a:noFill/>
          <a:ln w="9525">
            <a:noFill/>
            <a:miter lim="800000"/>
            <a:headEnd/>
            <a:tailEnd/>
          </a:ln>
        </p:spPr>
      </p:pic>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ltLang="it-IT" smtClean="0"/>
              <a:t>Click to edit Master text styles</a:t>
            </a:r>
          </a:p>
          <a:p>
            <a:pPr lvl="1"/>
            <a:r>
              <a:rPr lang="en-GB" altLang="it-IT" smtClean="0"/>
              <a:t>Second level</a:t>
            </a:r>
          </a:p>
          <a:p>
            <a:pPr lvl="2"/>
            <a:r>
              <a:rPr lang="en-GB" altLang="it-IT" smtClean="0"/>
              <a:t>Third level</a:t>
            </a:r>
          </a:p>
          <a:p>
            <a:pPr lvl="3"/>
            <a:r>
              <a:rPr lang="en-GB" altLang="it-IT" smtClean="0"/>
              <a:t>Fourth level</a:t>
            </a:r>
          </a:p>
          <a:p>
            <a:pPr lvl="4"/>
            <a:r>
              <a:rPr lang="en-GB" altLang="it-IT" smtClean="0"/>
              <a:t>Fifth level</a:t>
            </a:r>
          </a:p>
        </p:txBody>
      </p:sp>
      <p:sp>
        <p:nvSpPr>
          <p:cNvPr id="7" name="Rectangle 4"/>
          <p:cNvSpPr>
            <a:spLocks noGrp="1" noChangeArrowheads="1"/>
          </p:cNvSpPr>
          <p:nvPr>
            <p:ph type="dt" sz="half" idx="2"/>
          </p:nvPr>
        </p:nvSpPr>
        <p:spPr bwMode="auto">
          <a:xfrm>
            <a:off x="457200" y="6245225"/>
            <a:ext cx="2133600" cy="476250"/>
          </a:xfrm>
          <a:prstGeom prst="rect">
            <a:avLst/>
          </a:prstGeom>
          <a:extLst/>
        </p:spPr>
        <p:txBody>
          <a:bodyPr vert="horz" wrap="square" lIns="91440" tIns="45720" rIns="91440" bIns="45720" numCol="1" anchor="t" anchorCtr="0" compatLnSpc="1">
            <a:prstTxWarp prst="textNoShape">
              <a:avLst/>
            </a:prstTxWarp>
          </a:bodyPr>
          <a:lstStyle>
            <a:lvl1pPr>
              <a:defRPr sz="1400" b="0">
                <a:cs typeface="+mn-cs"/>
              </a:defRPr>
            </a:lvl1pPr>
          </a:lstStyle>
          <a:p>
            <a:pPr>
              <a:defRPr/>
            </a:pPr>
            <a:endParaRPr lang="en-GB">
              <a:solidFill>
                <a:srgbClr val="000000"/>
              </a:solidFill>
            </a:endParaRPr>
          </a:p>
        </p:txBody>
      </p:sp>
      <p:sp>
        <p:nvSpPr>
          <p:cNvPr id="8" name="Rectangle 5"/>
          <p:cNvSpPr>
            <a:spLocks noGrp="1" noChangeArrowheads="1"/>
          </p:cNvSpPr>
          <p:nvPr>
            <p:ph type="ftr" sz="quarter" idx="3"/>
          </p:nvPr>
        </p:nvSpPr>
        <p:spPr bwMode="auto">
          <a:xfrm>
            <a:off x="3124200" y="6245225"/>
            <a:ext cx="2895600" cy="476250"/>
          </a:xfrm>
          <a:prstGeom prst="rect">
            <a:avLst/>
          </a:prstGeom>
          <a:extLst/>
        </p:spPr>
        <p:txBody>
          <a:bodyPr vert="horz" wrap="square" lIns="91440" tIns="45720" rIns="91440" bIns="45720" numCol="1" anchor="t" anchorCtr="0" compatLnSpc="1">
            <a:prstTxWarp prst="textNoShape">
              <a:avLst/>
            </a:prstTxWarp>
          </a:bodyPr>
          <a:lstStyle>
            <a:lvl1pPr algn="ctr">
              <a:defRPr sz="1400" b="0">
                <a:cs typeface="+mn-cs"/>
              </a:defRPr>
            </a:lvl1pPr>
          </a:lstStyle>
          <a:p>
            <a:pPr>
              <a:defRPr/>
            </a:pPr>
            <a:endParaRPr lang="en-GB">
              <a:solidFill>
                <a:srgbClr val="000000"/>
              </a:solidFill>
            </a:endParaRPr>
          </a:p>
        </p:txBody>
      </p:sp>
      <p:grpSp>
        <p:nvGrpSpPr>
          <p:cNvPr id="2" name="Gruppo 4"/>
          <p:cNvGrpSpPr>
            <a:grpSpLocks/>
          </p:cNvGrpSpPr>
          <p:nvPr userDrawn="1"/>
        </p:nvGrpSpPr>
        <p:grpSpPr bwMode="auto">
          <a:xfrm>
            <a:off x="0" y="-26988"/>
            <a:ext cx="9144000" cy="792163"/>
            <a:chOff x="0" y="-36513"/>
            <a:chExt cx="9144000" cy="822326"/>
          </a:xfrm>
        </p:grpSpPr>
        <p:pic>
          <p:nvPicPr>
            <p:cNvPr id="1033" name="Picture 2"/>
            <p:cNvPicPr>
              <a:picLocks noChangeAspect="1" noChangeArrowheads="1"/>
            </p:cNvPicPr>
            <p:nvPr/>
          </p:nvPicPr>
          <p:blipFill>
            <a:blip r:embed="rId4" cstate="print"/>
            <a:srcRect l="4688" t="21562" r="5663" b="66251"/>
            <a:stretch>
              <a:fillRect/>
            </a:stretch>
          </p:blipFill>
          <p:spPr bwMode="auto">
            <a:xfrm>
              <a:off x="0" y="0"/>
              <a:ext cx="9144000" cy="785813"/>
            </a:xfrm>
            <a:prstGeom prst="rect">
              <a:avLst/>
            </a:prstGeom>
            <a:noFill/>
            <a:ln w="9525">
              <a:noFill/>
              <a:miter lim="800000"/>
              <a:headEnd/>
              <a:tailEnd/>
            </a:ln>
          </p:spPr>
        </p:pic>
        <p:pic>
          <p:nvPicPr>
            <p:cNvPr id="1034" name="Picture 5" descr="jaune"/>
            <p:cNvPicPr>
              <a:picLocks noChangeAspect="1" noChangeArrowheads="1"/>
            </p:cNvPicPr>
            <p:nvPr/>
          </p:nvPicPr>
          <p:blipFill>
            <a:blip r:embed="rId5" cstate="print"/>
            <a:srcRect/>
            <a:stretch>
              <a:fillRect/>
            </a:stretch>
          </p:blipFill>
          <p:spPr bwMode="auto">
            <a:xfrm>
              <a:off x="913731" y="0"/>
              <a:ext cx="800100" cy="546100"/>
            </a:xfrm>
            <a:prstGeom prst="rect">
              <a:avLst/>
            </a:prstGeom>
            <a:noFill/>
            <a:ln w="9525">
              <a:noFill/>
              <a:miter lim="800000"/>
              <a:headEnd/>
              <a:tailEnd/>
            </a:ln>
          </p:spPr>
        </p:pic>
        <p:pic>
          <p:nvPicPr>
            <p:cNvPr id="1035" name="Picture 7" descr="stellone"/>
            <p:cNvPicPr>
              <a:picLocks noChangeAspect="1" noChangeArrowheads="1"/>
            </p:cNvPicPr>
            <p:nvPr/>
          </p:nvPicPr>
          <p:blipFill>
            <a:blip r:embed="rId6" cstate="print"/>
            <a:srcRect/>
            <a:stretch>
              <a:fillRect/>
            </a:stretch>
          </p:blipFill>
          <p:spPr bwMode="auto">
            <a:xfrm>
              <a:off x="1907704" y="-36513"/>
              <a:ext cx="533400" cy="619125"/>
            </a:xfrm>
            <a:prstGeom prst="rect">
              <a:avLst/>
            </a:prstGeom>
            <a:noFill/>
            <a:ln w="9525">
              <a:noFill/>
              <a:miter lim="800000"/>
              <a:headEnd/>
              <a:tailEnd/>
            </a:ln>
          </p:spPr>
        </p:pic>
        <p:pic>
          <p:nvPicPr>
            <p:cNvPr id="1036" name="Picture 2" descr="Logo_POFesr"/>
            <p:cNvPicPr>
              <a:picLocks noChangeAspect="1" noChangeArrowheads="1"/>
            </p:cNvPicPr>
            <p:nvPr/>
          </p:nvPicPr>
          <p:blipFill>
            <a:blip r:embed="rId7" cstate="print"/>
            <a:srcRect/>
            <a:stretch>
              <a:fillRect/>
            </a:stretch>
          </p:blipFill>
          <p:spPr bwMode="auto">
            <a:xfrm>
              <a:off x="2627784" y="0"/>
              <a:ext cx="827088" cy="692150"/>
            </a:xfrm>
            <a:prstGeom prst="rect">
              <a:avLst/>
            </a:prstGeom>
            <a:noFill/>
            <a:ln w="9525">
              <a:noFill/>
              <a:miter lim="800000"/>
              <a:headEnd/>
              <a:tailEnd/>
            </a:ln>
          </p:spPr>
        </p:pic>
      </p:grpSp>
      <p:cxnSp>
        <p:nvCxnSpPr>
          <p:cNvPr id="13" name="Connettore 1 12"/>
          <p:cNvCxnSpPr/>
          <p:nvPr userDrawn="1"/>
        </p:nvCxnSpPr>
        <p:spPr bwMode="auto">
          <a:xfrm>
            <a:off x="0" y="1857375"/>
            <a:ext cx="7643813" cy="1588"/>
          </a:xfrm>
          <a:prstGeom prst="line">
            <a:avLst/>
          </a:prstGeom>
          <a:noFill/>
          <a:ln w="28575" algn="ctr">
            <a:solidFill>
              <a:schemeClr val="accent6">
                <a:lumMod val="60000"/>
                <a:lumOff val="40000"/>
              </a:schemeClr>
            </a:solidFill>
            <a:round/>
            <a:headEnd/>
            <a:tailEnd type="triangle" w="med" len="med"/>
          </a:ln>
          <a:effectLst/>
          <a:extLst/>
        </p:spPr>
      </p:cxnSp>
      <p:sp>
        <p:nvSpPr>
          <p:cNvPr id="15" name="Titolo 1"/>
          <p:cNvSpPr txBox="1">
            <a:spLocks/>
          </p:cNvSpPr>
          <p:nvPr userDrawn="1"/>
        </p:nvSpPr>
        <p:spPr>
          <a:xfrm>
            <a:off x="0" y="1285875"/>
            <a:ext cx="7643813" cy="571500"/>
          </a:xfrm>
          <a:prstGeom prst="rect">
            <a:avLst/>
          </a:prstGeom>
        </p:spPr>
        <p:txBody>
          <a:bodyPr/>
          <a:lstStyle/>
          <a:p>
            <a:pPr algn="r" eaLnBrk="0" hangingPunct="0">
              <a:defRPr/>
            </a:pPr>
            <a:endParaRPr lang="it-IT" sz="2800" kern="0" dirty="0">
              <a:solidFill>
                <a:srgbClr val="000000"/>
              </a:solidFill>
            </a:endParaRPr>
          </a:p>
        </p:txBody>
      </p:sp>
    </p:spTree>
    <p:extLst>
      <p:ext uri="{BB962C8B-B14F-4D97-AF65-F5344CB8AC3E}">
        <p14:creationId xmlns:p14="http://schemas.microsoft.com/office/powerpoint/2010/main" val="2380689504"/>
      </p:ext>
    </p:extLst>
  </p:cSld>
  <p:clrMap bg1="lt1" tx1="dk1" bg2="lt2" tx2="dk2" accent1="accent1" accent2="accent2" accent3="accent3" accent4="accent4" accent5="accent5" accent6="accent6" hlink="hlink" folHlink="folHlink"/>
  <p:sldLayoutIdLst>
    <p:sldLayoutId id="2147483662" r:id="rId1"/>
  </p:sldLayoutIdLst>
  <p:hf hdr="0" ftr="0" dt="0"/>
  <p:txStyles>
    <p:title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2800">
          <a:solidFill>
            <a:schemeClr val="tx2"/>
          </a:solidFill>
          <a:latin typeface="Arial" charset="0"/>
        </a:defRPr>
      </a:lvl2pPr>
      <a:lvl3pPr algn="ctr" rtl="0" eaLnBrk="0" fontAlgn="base" hangingPunct="0">
        <a:spcBef>
          <a:spcPct val="0"/>
        </a:spcBef>
        <a:spcAft>
          <a:spcPct val="0"/>
        </a:spcAft>
        <a:defRPr sz="2800">
          <a:solidFill>
            <a:schemeClr val="tx2"/>
          </a:solidFill>
          <a:latin typeface="Arial" charset="0"/>
        </a:defRPr>
      </a:lvl3pPr>
      <a:lvl4pPr algn="ctr" rtl="0" eaLnBrk="0" fontAlgn="base" hangingPunct="0">
        <a:spcBef>
          <a:spcPct val="0"/>
        </a:spcBef>
        <a:spcAft>
          <a:spcPct val="0"/>
        </a:spcAft>
        <a:defRPr sz="2800">
          <a:solidFill>
            <a:schemeClr val="tx2"/>
          </a:solidFill>
          <a:latin typeface="Arial" charset="0"/>
        </a:defRPr>
      </a:lvl4pPr>
      <a:lvl5pPr algn="ctr" rtl="0" eaLnBrk="0" fontAlgn="base" hangingPunct="0">
        <a:spcBef>
          <a:spcPct val="0"/>
        </a:spcBef>
        <a:spcAft>
          <a:spcPct val="0"/>
        </a:spcAft>
        <a:defRPr sz="28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2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1.wmf"/><Relationship Id="rId18" Type="http://schemas.microsoft.com/office/2007/relationships/diagramDrawing" Target="../diagrams/drawing21.xml"/><Relationship Id="rId3" Type="http://schemas.openxmlformats.org/officeDocument/2006/relationships/diagramData" Target="../diagrams/data19.xml"/><Relationship Id="rId21" Type="http://schemas.openxmlformats.org/officeDocument/2006/relationships/diagramQuickStyle" Target="../diagrams/quickStyle22.xml"/><Relationship Id="rId7" Type="http://schemas.microsoft.com/office/2007/relationships/diagramDrawing" Target="../diagrams/drawing19.xml"/><Relationship Id="rId12" Type="http://schemas.microsoft.com/office/2007/relationships/diagramDrawing" Target="../diagrams/drawing20.xml"/><Relationship Id="rId17" Type="http://schemas.openxmlformats.org/officeDocument/2006/relationships/diagramColors" Target="../diagrams/colors21.xml"/><Relationship Id="rId2" Type="http://schemas.openxmlformats.org/officeDocument/2006/relationships/notesSlide" Target="../notesSlides/notesSlide2.xml"/><Relationship Id="rId16" Type="http://schemas.openxmlformats.org/officeDocument/2006/relationships/diagramQuickStyle" Target="../diagrams/quickStyle21.xml"/><Relationship Id="rId20" Type="http://schemas.openxmlformats.org/officeDocument/2006/relationships/diagramLayout" Target="../diagrams/layout22.xml"/><Relationship Id="rId1" Type="http://schemas.openxmlformats.org/officeDocument/2006/relationships/slideLayout" Target="../slideLayouts/slideLayout12.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5" Type="http://schemas.openxmlformats.org/officeDocument/2006/relationships/diagramLayout" Target="../diagrams/layout21.xml"/><Relationship Id="rId23" Type="http://schemas.microsoft.com/office/2007/relationships/diagramDrawing" Target="../diagrams/drawing22.xml"/><Relationship Id="rId10" Type="http://schemas.openxmlformats.org/officeDocument/2006/relationships/diagramQuickStyle" Target="../diagrams/quickStyle20.xml"/><Relationship Id="rId19" Type="http://schemas.openxmlformats.org/officeDocument/2006/relationships/diagramData" Target="../diagrams/data22.xml"/><Relationship Id="rId4" Type="http://schemas.openxmlformats.org/officeDocument/2006/relationships/diagramLayout" Target="../diagrams/layout19.xml"/><Relationship Id="rId9" Type="http://schemas.openxmlformats.org/officeDocument/2006/relationships/diagramLayout" Target="../diagrams/layout20.xml"/><Relationship Id="rId14" Type="http://schemas.openxmlformats.org/officeDocument/2006/relationships/diagramData" Target="../diagrams/data21.xml"/><Relationship Id="rId22" Type="http://schemas.openxmlformats.org/officeDocument/2006/relationships/diagramColors" Target="../diagrams/colors2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4.xml"/><Relationship Id="rId3" Type="http://schemas.openxmlformats.org/officeDocument/2006/relationships/diagramData" Target="../diagrams/data23.xml"/><Relationship Id="rId7" Type="http://schemas.microsoft.com/office/2007/relationships/diagramDrawing" Target="../diagrams/drawing23.xml"/><Relationship Id="rId12" Type="http://schemas.microsoft.com/office/2007/relationships/diagramDrawing" Target="../diagrams/drawing24.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23.xml"/><Relationship Id="rId11" Type="http://schemas.openxmlformats.org/officeDocument/2006/relationships/diagramColors" Target="../diagrams/colors24.xml"/><Relationship Id="rId5" Type="http://schemas.openxmlformats.org/officeDocument/2006/relationships/diagramQuickStyle" Target="../diagrams/quickStyle23.xml"/><Relationship Id="rId10" Type="http://schemas.openxmlformats.org/officeDocument/2006/relationships/diagramQuickStyle" Target="../diagrams/quickStyle24.xml"/><Relationship Id="rId4" Type="http://schemas.openxmlformats.org/officeDocument/2006/relationships/diagramLayout" Target="../diagrams/layout23.xml"/><Relationship Id="rId9" Type="http://schemas.openxmlformats.org/officeDocument/2006/relationships/diagramLayout" Target="../diagrams/layout2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1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12.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diagramLayout" Target="../diagrams/layout27.xml"/><Relationship Id="rId7" Type="http://schemas.openxmlformats.org/officeDocument/2006/relationships/diagramData" Target="../diagrams/data28.xml"/><Relationship Id="rId2" Type="http://schemas.openxmlformats.org/officeDocument/2006/relationships/diagramData" Target="../diagrams/data27.xml"/><Relationship Id="rId1" Type="http://schemas.openxmlformats.org/officeDocument/2006/relationships/slideLayout" Target="../slideLayouts/slideLayout12.xml"/><Relationship Id="rId6" Type="http://schemas.microsoft.com/office/2007/relationships/diagramDrawing" Target="../diagrams/drawing27.xml"/><Relationship Id="rId11" Type="http://schemas.microsoft.com/office/2007/relationships/diagramDrawing" Target="../diagrams/drawing28.xml"/><Relationship Id="rId5" Type="http://schemas.openxmlformats.org/officeDocument/2006/relationships/diagramColors" Target="../diagrams/colors27.xml"/><Relationship Id="rId10" Type="http://schemas.openxmlformats.org/officeDocument/2006/relationships/diagramColors" Target="../diagrams/colors28.xml"/><Relationship Id="rId4" Type="http://schemas.openxmlformats.org/officeDocument/2006/relationships/diagramQuickStyle" Target="../diagrams/quickStyle27.xml"/><Relationship Id="rId9" Type="http://schemas.openxmlformats.org/officeDocument/2006/relationships/diagramQuickStyle" Target="../diagrams/quickStyle28.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0.xml"/><Relationship Id="rId13" Type="http://schemas.openxmlformats.org/officeDocument/2006/relationships/diagramLayout" Target="../diagrams/layout31.xml"/><Relationship Id="rId18" Type="http://schemas.openxmlformats.org/officeDocument/2006/relationships/diagramLayout" Target="../diagrams/layout32.xml"/><Relationship Id="rId3" Type="http://schemas.openxmlformats.org/officeDocument/2006/relationships/diagramLayout" Target="../diagrams/layout29.xml"/><Relationship Id="rId21" Type="http://schemas.microsoft.com/office/2007/relationships/diagramDrawing" Target="../diagrams/drawing32.xml"/><Relationship Id="rId7" Type="http://schemas.openxmlformats.org/officeDocument/2006/relationships/diagramData" Target="../diagrams/data30.xml"/><Relationship Id="rId12" Type="http://schemas.openxmlformats.org/officeDocument/2006/relationships/diagramData" Target="../diagrams/data31.xml"/><Relationship Id="rId17" Type="http://schemas.openxmlformats.org/officeDocument/2006/relationships/diagramData" Target="../diagrams/data32.xml"/><Relationship Id="rId2" Type="http://schemas.openxmlformats.org/officeDocument/2006/relationships/diagramData" Target="../diagrams/data29.xml"/><Relationship Id="rId16" Type="http://schemas.microsoft.com/office/2007/relationships/diagramDrawing" Target="../diagrams/drawing31.xml"/><Relationship Id="rId20" Type="http://schemas.openxmlformats.org/officeDocument/2006/relationships/diagramColors" Target="../diagrams/colors32.xml"/><Relationship Id="rId1" Type="http://schemas.openxmlformats.org/officeDocument/2006/relationships/slideLayout" Target="../slideLayouts/slideLayout12.xml"/><Relationship Id="rId6" Type="http://schemas.microsoft.com/office/2007/relationships/diagramDrawing" Target="../diagrams/drawing29.xml"/><Relationship Id="rId11" Type="http://schemas.microsoft.com/office/2007/relationships/diagramDrawing" Target="../diagrams/drawing30.xml"/><Relationship Id="rId5" Type="http://schemas.openxmlformats.org/officeDocument/2006/relationships/diagramColors" Target="../diagrams/colors29.xml"/><Relationship Id="rId15" Type="http://schemas.openxmlformats.org/officeDocument/2006/relationships/diagramColors" Target="../diagrams/colors31.xml"/><Relationship Id="rId10" Type="http://schemas.openxmlformats.org/officeDocument/2006/relationships/diagramColors" Target="../diagrams/colors30.xml"/><Relationship Id="rId19" Type="http://schemas.openxmlformats.org/officeDocument/2006/relationships/diagramQuickStyle" Target="../diagrams/quickStyle32.xml"/><Relationship Id="rId4" Type="http://schemas.openxmlformats.org/officeDocument/2006/relationships/diagramQuickStyle" Target="../diagrams/quickStyle29.xml"/><Relationship Id="rId9" Type="http://schemas.openxmlformats.org/officeDocument/2006/relationships/diagramQuickStyle" Target="../diagrams/quickStyle30.xml"/><Relationship Id="rId14" Type="http://schemas.openxmlformats.org/officeDocument/2006/relationships/diagramQuickStyle" Target="../diagrams/quickStyle31.xml"/></Relationships>
</file>

<file path=ppt/slides/_rels/slide17.xml.rels><?xml version="1.0" encoding="UTF-8" standalone="yes"?>
<Relationships xmlns="http://schemas.openxmlformats.org/package/2006/relationships"><Relationship Id="rId13" Type="http://schemas.openxmlformats.org/officeDocument/2006/relationships/diagramLayout" Target="../diagrams/layout35.xml"/><Relationship Id="rId18" Type="http://schemas.openxmlformats.org/officeDocument/2006/relationships/diagramLayout" Target="../diagrams/layout36.xml"/><Relationship Id="rId26" Type="http://schemas.microsoft.com/office/2007/relationships/diagramDrawing" Target="../diagrams/drawing37.xml"/><Relationship Id="rId39" Type="http://schemas.openxmlformats.org/officeDocument/2006/relationships/diagramQuickStyle" Target="../diagrams/quickStyle40.xml"/><Relationship Id="rId3" Type="http://schemas.openxmlformats.org/officeDocument/2006/relationships/diagramLayout" Target="../diagrams/layout33.xml"/><Relationship Id="rId21" Type="http://schemas.microsoft.com/office/2007/relationships/diagramDrawing" Target="../diagrams/drawing36.xml"/><Relationship Id="rId34" Type="http://schemas.openxmlformats.org/officeDocument/2006/relationships/diagramQuickStyle" Target="../diagrams/quickStyle39.xml"/><Relationship Id="rId42" Type="http://schemas.openxmlformats.org/officeDocument/2006/relationships/diagramData" Target="../diagrams/data41.xml"/><Relationship Id="rId47" Type="http://schemas.openxmlformats.org/officeDocument/2006/relationships/diagramData" Target="../diagrams/data42.xml"/><Relationship Id="rId50" Type="http://schemas.openxmlformats.org/officeDocument/2006/relationships/diagramColors" Target="../diagrams/colors42.xml"/><Relationship Id="rId7" Type="http://schemas.openxmlformats.org/officeDocument/2006/relationships/diagramData" Target="../diagrams/data34.xml"/><Relationship Id="rId12" Type="http://schemas.openxmlformats.org/officeDocument/2006/relationships/diagramData" Target="../diagrams/data35.xml"/><Relationship Id="rId17" Type="http://schemas.openxmlformats.org/officeDocument/2006/relationships/diagramData" Target="../diagrams/data36.xml"/><Relationship Id="rId25" Type="http://schemas.openxmlformats.org/officeDocument/2006/relationships/diagramColors" Target="../diagrams/colors37.xml"/><Relationship Id="rId33" Type="http://schemas.openxmlformats.org/officeDocument/2006/relationships/diagramLayout" Target="../diagrams/layout39.xml"/><Relationship Id="rId38" Type="http://schemas.openxmlformats.org/officeDocument/2006/relationships/diagramLayout" Target="../diagrams/layout40.xml"/><Relationship Id="rId46" Type="http://schemas.microsoft.com/office/2007/relationships/diagramDrawing" Target="../diagrams/drawing41.xml"/><Relationship Id="rId2" Type="http://schemas.openxmlformats.org/officeDocument/2006/relationships/diagramData" Target="../diagrams/data33.xml"/><Relationship Id="rId16" Type="http://schemas.microsoft.com/office/2007/relationships/diagramDrawing" Target="../diagrams/drawing35.xml"/><Relationship Id="rId20" Type="http://schemas.openxmlformats.org/officeDocument/2006/relationships/diagramColors" Target="../diagrams/colors36.xml"/><Relationship Id="rId29" Type="http://schemas.openxmlformats.org/officeDocument/2006/relationships/diagramQuickStyle" Target="../diagrams/quickStyle38.xml"/><Relationship Id="rId41" Type="http://schemas.microsoft.com/office/2007/relationships/diagramDrawing" Target="../diagrams/drawing40.xml"/><Relationship Id="rId1" Type="http://schemas.openxmlformats.org/officeDocument/2006/relationships/slideLayout" Target="../slideLayouts/slideLayout12.xml"/><Relationship Id="rId6" Type="http://schemas.microsoft.com/office/2007/relationships/diagramDrawing" Target="../diagrams/drawing33.xml"/><Relationship Id="rId11" Type="http://schemas.microsoft.com/office/2007/relationships/diagramDrawing" Target="../diagrams/drawing34.xml"/><Relationship Id="rId24" Type="http://schemas.openxmlformats.org/officeDocument/2006/relationships/diagramQuickStyle" Target="../diagrams/quickStyle37.xml"/><Relationship Id="rId32" Type="http://schemas.openxmlformats.org/officeDocument/2006/relationships/diagramData" Target="../diagrams/data39.xml"/><Relationship Id="rId37" Type="http://schemas.openxmlformats.org/officeDocument/2006/relationships/diagramData" Target="../diagrams/data40.xml"/><Relationship Id="rId40" Type="http://schemas.openxmlformats.org/officeDocument/2006/relationships/diagramColors" Target="../diagrams/colors40.xml"/><Relationship Id="rId45" Type="http://schemas.openxmlformats.org/officeDocument/2006/relationships/diagramColors" Target="../diagrams/colors41.xml"/><Relationship Id="rId5" Type="http://schemas.openxmlformats.org/officeDocument/2006/relationships/diagramColors" Target="../diagrams/colors33.xml"/><Relationship Id="rId15" Type="http://schemas.openxmlformats.org/officeDocument/2006/relationships/diagramColors" Target="../diagrams/colors35.xml"/><Relationship Id="rId23" Type="http://schemas.openxmlformats.org/officeDocument/2006/relationships/diagramLayout" Target="../diagrams/layout37.xml"/><Relationship Id="rId28" Type="http://schemas.openxmlformats.org/officeDocument/2006/relationships/diagramLayout" Target="../diagrams/layout38.xml"/><Relationship Id="rId36" Type="http://schemas.microsoft.com/office/2007/relationships/diagramDrawing" Target="../diagrams/drawing39.xml"/><Relationship Id="rId49" Type="http://schemas.openxmlformats.org/officeDocument/2006/relationships/diagramQuickStyle" Target="../diagrams/quickStyle42.xml"/><Relationship Id="rId10" Type="http://schemas.openxmlformats.org/officeDocument/2006/relationships/diagramColors" Target="../diagrams/colors34.xml"/><Relationship Id="rId19" Type="http://schemas.openxmlformats.org/officeDocument/2006/relationships/diagramQuickStyle" Target="../diagrams/quickStyle36.xml"/><Relationship Id="rId31" Type="http://schemas.microsoft.com/office/2007/relationships/diagramDrawing" Target="../diagrams/drawing38.xml"/><Relationship Id="rId44" Type="http://schemas.openxmlformats.org/officeDocument/2006/relationships/diagramQuickStyle" Target="../diagrams/quickStyle41.xml"/><Relationship Id="rId4" Type="http://schemas.openxmlformats.org/officeDocument/2006/relationships/diagramQuickStyle" Target="../diagrams/quickStyle33.xml"/><Relationship Id="rId9" Type="http://schemas.openxmlformats.org/officeDocument/2006/relationships/diagramQuickStyle" Target="../diagrams/quickStyle34.xml"/><Relationship Id="rId14" Type="http://schemas.openxmlformats.org/officeDocument/2006/relationships/diagramQuickStyle" Target="../diagrams/quickStyle35.xml"/><Relationship Id="rId22" Type="http://schemas.openxmlformats.org/officeDocument/2006/relationships/diagramData" Target="../diagrams/data37.xml"/><Relationship Id="rId27" Type="http://schemas.openxmlformats.org/officeDocument/2006/relationships/diagramData" Target="../diagrams/data38.xml"/><Relationship Id="rId30" Type="http://schemas.openxmlformats.org/officeDocument/2006/relationships/diagramColors" Target="../diagrams/colors38.xml"/><Relationship Id="rId35" Type="http://schemas.openxmlformats.org/officeDocument/2006/relationships/diagramColors" Target="../diagrams/colors39.xml"/><Relationship Id="rId43" Type="http://schemas.openxmlformats.org/officeDocument/2006/relationships/diagramLayout" Target="../diagrams/layout41.xml"/><Relationship Id="rId48" Type="http://schemas.openxmlformats.org/officeDocument/2006/relationships/diagramLayout" Target="../diagrams/layout42.xml"/><Relationship Id="rId8" Type="http://schemas.openxmlformats.org/officeDocument/2006/relationships/diagramLayout" Target="../diagrams/layout34.xml"/><Relationship Id="rId51" Type="http://schemas.microsoft.com/office/2007/relationships/diagramDrawing" Target="../diagrams/drawing42.xml"/></Relationships>
</file>

<file path=ppt/slides/_rels/slide18.xml.rels><?xml version="1.0" encoding="UTF-8" standalone="yes"?>
<Relationships xmlns="http://schemas.openxmlformats.org/package/2006/relationships"><Relationship Id="rId13" Type="http://schemas.openxmlformats.org/officeDocument/2006/relationships/diagramLayout" Target="../diagrams/layout44.xml"/><Relationship Id="rId18" Type="http://schemas.openxmlformats.org/officeDocument/2006/relationships/diagramLayout" Target="../diagrams/layout45.xml"/><Relationship Id="rId26" Type="http://schemas.microsoft.com/office/2007/relationships/diagramDrawing" Target="../diagrams/drawing46.xml"/><Relationship Id="rId39" Type="http://schemas.openxmlformats.org/officeDocument/2006/relationships/diagramQuickStyle" Target="../diagrams/quickStyle49.xml"/><Relationship Id="rId21" Type="http://schemas.microsoft.com/office/2007/relationships/diagramDrawing" Target="../diagrams/drawing45.xml"/><Relationship Id="rId34" Type="http://schemas.openxmlformats.org/officeDocument/2006/relationships/diagramQuickStyle" Target="../diagrams/quickStyle48.xml"/><Relationship Id="rId42" Type="http://schemas.openxmlformats.org/officeDocument/2006/relationships/diagramData" Target="../diagrams/data50.xml"/><Relationship Id="rId47" Type="http://schemas.openxmlformats.org/officeDocument/2006/relationships/diagramData" Target="../diagrams/data51.xml"/><Relationship Id="rId50" Type="http://schemas.openxmlformats.org/officeDocument/2006/relationships/diagramColors" Target="../diagrams/colors51.xml"/><Relationship Id="rId55" Type="http://schemas.openxmlformats.org/officeDocument/2006/relationships/diagramColors" Target="../diagrams/colors52.xml"/><Relationship Id="rId63" Type="http://schemas.openxmlformats.org/officeDocument/2006/relationships/diagramLayout" Target="../diagrams/layout54.xml"/><Relationship Id="rId68" Type="http://schemas.openxmlformats.org/officeDocument/2006/relationships/diagramLayout" Target="../diagrams/layout55.xml"/><Relationship Id="rId76" Type="http://schemas.microsoft.com/office/2007/relationships/diagramDrawing" Target="../diagrams/drawing56.xml"/><Relationship Id="rId84" Type="http://schemas.openxmlformats.org/officeDocument/2006/relationships/diagramQuickStyle" Target="../diagrams/quickStyle58.xml"/><Relationship Id="rId7" Type="http://schemas.openxmlformats.org/officeDocument/2006/relationships/diagramData" Target="../diagrams/data43.xml"/><Relationship Id="rId71" Type="http://schemas.microsoft.com/office/2007/relationships/diagramDrawing" Target="../diagrams/drawing55.xml"/><Relationship Id="rId2" Type="http://schemas.openxmlformats.org/officeDocument/2006/relationships/notesSlide" Target="../notesSlides/notesSlide4.xml"/><Relationship Id="rId16" Type="http://schemas.microsoft.com/office/2007/relationships/diagramDrawing" Target="../diagrams/drawing44.xml"/><Relationship Id="rId29" Type="http://schemas.openxmlformats.org/officeDocument/2006/relationships/diagramQuickStyle" Target="../diagrams/quickStyle47.xml"/><Relationship Id="rId11" Type="http://schemas.microsoft.com/office/2007/relationships/diagramDrawing" Target="../diagrams/drawing43.xml"/><Relationship Id="rId24" Type="http://schemas.openxmlformats.org/officeDocument/2006/relationships/diagramQuickStyle" Target="../diagrams/quickStyle46.xml"/><Relationship Id="rId32" Type="http://schemas.openxmlformats.org/officeDocument/2006/relationships/diagramData" Target="../diagrams/data48.xml"/><Relationship Id="rId37" Type="http://schemas.openxmlformats.org/officeDocument/2006/relationships/diagramData" Target="../diagrams/data49.xml"/><Relationship Id="rId40" Type="http://schemas.openxmlformats.org/officeDocument/2006/relationships/diagramColors" Target="../diagrams/colors49.xml"/><Relationship Id="rId45" Type="http://schemas.openxmlformats.org/officeDocument/2006/relationships/diagramColors" Target="../diagrams/colors50.xml"/><Relationship Id="rId53" Type="http://schemas.openxmlformats.org/officeDocument/2006/relationships/diagramLayout" Target="../diagrams/layout52.xml"/><Relationship Id="rId58" Type="http://schemas.openxmlformats.org/officeDocument/2006/relationships/diagramLayout" Target="../diagrams/layout53.xml"/><Relationship Id="rId66" Type="http://schemas.microsoft.com/office/2007/relationships/diagramDrawing" Target="../diagrams/drawing54.xml"/><Relationship Id="rId74" Type="http://schemas.openxmlformats.org/officeDocument/2006/relationships/diagramQuickStyle" Target="../diagrams/quickStyle56.xml"/><Relationship Id="rId79" Type="http://schemas.openxmlformats.org/officeDocument/2006/relationships/diagramQuickStyle" Target="../diagrams/quickStyle57.xml"/><Relationship Id="rId5" Type="http://schemas.openxmlformats.org/officeDocument/2006/relationships/image" Target="../media/image5.png"/><Relationship Id="rId61" Type="http://schemas.microsoft.com/office/2007/relationships/diagramDrawing" Target="../diagrams/drawing53.xml"/><Relationship Id="rId82" Type="http://schemas.openxmlformats.org/officeDocument/2006/relationships/diagramData" Target="../diagrams/data58.xml"/><Relationship Id="rId19" Type="http://schemas.openxmlformats.org/officeDocument/2006/relationships/diagramQuickStyle" Target="../diagrams/quickStyle45.xml"/><Relationship Id="rId4" Type="http://schemas.openxmlformats.org/officeDocument/2006/relationships/image" Target="../media/image17.jpeg"/><Relationship Id="rId9" Type="http://schemas.openxmlformats.org/officeDocument/2006/relationships/diagramQuickStyle" Target="../diagrams/quickStyle43.xml"/><Relationship Id="rId14" Type="http://schemas.openxmlformats.org/officeDocument/2006/relationships/diagramQuickStyle" Target="../diagrams/quickStyle44.xml"/><Relationship Id="rId22" Type="http://schemas.openxmlformats.org/officeDocument/2006/relationships/diagramData" Target="../diagrams/data46.xml"/><Relationship Id="rId27" Type="http://schemas.openxmlformats.org/officeDocument/2006/relationships/diagramData" Target="../diagrams/data47.xml"/><Relationship Id="rId30" Type="http://schemas.openxmlformats.org/officeDocument/2006/relationships/diagramColors" Target="../diagrams/colors47.xml"/><Relationship Id="rId35" Type="http://schemas.openxmlformats.org/officeDocument/2006/relationships/diagramColors" Target="../diagrams/colors48.xml"/><Relationship Id="rId43" Type="http://schemas.openxmlformats.org/officeDocument/2006/relationships/diagramLayout" Target="../diagrams/layout50.xml"/><Relationship Id="rId48" Type="http://schemas.openxmlformats.org/officeDocument/2006/relationships/diagramLayout" Target="../diagrams/layout51.xml"/><Relationship Id="rId56" Type="http://schemas.microsoft.com/office/2007/relationships/diagramDrawing" Target="../diagrams/drawing52.xml"/><Relationship Id="rId64" Type="http://schemas.openxmlformats.org/officeDocument/2006/relationships/diagramQuickStyle" Target="../diagrams/quickStyle54.xml"/><Relationship Id="rId69" Type="http://schemas.openxmlformats.org/officeDocument/2006/relationships/diagramQuickStyle" Target="../diagrams/quickStyle55.xml"/><Relationship Id="rId77" Type="http://schemas.openxmlformats.org/officeDocument/2006/relationships/diagramData" Target="../diagrams/data57.xml"/><Relationship Id="rId8" Type="http://schemas.openxmlformats.org/officeDocument/2006/relationships/diagramLayout" Target="../diagrams/layout43.xml"/><Relationship Id="rId51" Type="http://schemas.microsoft.com/office/2007/relationships/diagramDrawing" Target="../diagrams/drawing51.xml"/><Relationship Id="rId72" Type="http://schemas.openxmlformats.org/officeDocument/2006/relationships/diagramData" Target="../diagrams/data56.xml"/><Relationship Id="rId80" Type="http://schemas.openxmlformats.org/officeDocument/2006/relationships/diagramColors" Target="../diagrams/colors57.xml"/><Relationship Id="rId85" Type="http://schemas.openxmlformats.org/officeDocument/2006/relationships/diagramColors" Target="../diagrams/colors58.xml"/><Relationship Id="rId3" Type="http://schemas.openxmlformats.org/officeDocument/2006/relationships/image" Target="../media/image3.png"/><Relationship Id="rId12" Type="http://schemas.openxmlformats.org/officeDocument/2006/relationships/diagramData" Target="../diagrams/data44.xml"/><Relationship Id="rId17" Type="http://schemas.openxmlformats.org/officeDocument/2006/relationships/diagramData" Target="../diagrams/data45.xml"/><Relationship Id="rId25" Type="http://schemas.openxmlformats.org/officeDocument/2006/relationships/diagramColors" Target="../diagrams/colors46.xml"/><Relationship Id="rId33" Type="http://schemas.openxmlformats.org/officeDocument/2006/relationships/diagramLayout" Target="../diagrams/layout48.xml"/><Relationship Id="rId38" Type="http://schemas.openxmlformats.org/officeDocument/2006/relationships/diagramLayout" Target="../diagrams/layout49.xml"/><Relationship Id="rId46" Type="http://schemas.microsoft.com/office/2007/relationships/diagramDrawing" Target="../diagrams/drawing50.xml"/><Relationship Id="rId59" Type="http://schemas.openxmlformats.org/officeDocument/2006/relationships/diagramQuickStyle" Target="../diagrams/quickStyle53.xml"/><Relationship Id="rId67" Type="http://schemas.openxmlformats.org/officeDocument/2006/relationships/diagramData" Target="../diagrams/data55.xml"/><Relationship Id="rId20" Type="http://schemas.openxmlformats.org/officeDocument/2006/relationships/diagramColors" Target="../diagrams/colors45.xml"/><Relationship Id="rId41" Type="http://schemas.microsoft.com/office/2007/relationships/diagramDrawing" Target="../diagrams/drawing49.xml"/><Relationship Id="rId54" Type="http://schemas.openxmlformats.org/officeDocument/2006/relationships/diagramQuickStyle" Target="../diagrams/quickStyle52.xml"/><Relationship Id="rId62" Type="http://schemas.openxmlformats.org/officeDocument/2006/relationships/diagramData" Target="../diagrams/data54.xml"/><Relationship Id="rId70" Type="http://schemas.openxmlformats.org/officeDocument/2006/relationships/diagramColors" Target="../diagrams/colors55.xml"/><Relationship Id="rId75" Type="http://schemas.openxmlformats.org/officeDocument/2006/relationships/diagramColors" Target="../diagrams/colors56.xml"/><Relationship Id="rId83" Type="http://schemas.openxmlformats.org/officeDocument/2006/relationships/diagramLayout" Target="../diagrams/layout58.xml"/><Relationship Id="rId1" Type="http://schemas.openxmlformats.org/officeDocument/2006/relationships/slideLayout" Target="../slideLayouts/slideLayout12.xml"/><Relationship Id="rId6" Type="http://schemas.openxmlformats.org/officeDocument/2006/relationships/image" Target="../media/image6.jpeg"/><Relationship Id="rId15" Type="http://schemas.openxmlformats.org/officeDocument/2006/relationships/diagramColors" Target="../diagrams/colors44.xml"/><Relationship Id="rId23" Type="http://schemas.openxmlformats.org/officeDocument/2006/relationships/diagramLayout" Target="../diagrams/layout46.xml"/><Relationship Id="rId28" Type="http://schemas.openxmlformats.org/officeDocument/2006/relationships/diagramLayout" Target="../diagrams/layout47.xml"/><Relationship Id="rId36" Type="http://schemas.microsoft.com/office/2007/relationships/diagramDrawing" Target="../diagrams/drawing48.xml"/><Relationship Id="rId49" Type="http://schemas.openxmlformats.org/officeDocument/2006/relationships/diagramQuickStyle" Target="../diagrams/quickStyle51.xml"/><Relationship Id="rId57" Type="http://schemas.openxmlformats.org/officeDocument/2006/relationships/diagramData" Target="../diagrams/data53.xml"/><Relationship Id="rId10" Type="http://schemas.openxmlformats.org/officeDocument/2006/relationships/diagramColors" Target="../diagrams/colors43.xml"/><Relationship Id="rId31" Type="http://schemas.microsoft.com/office/2007/relationships/diagramDrawing" Target="../diagrams/drawing47.xml"/><Relationship Id="rId44" Type="http://schemas.openxmlformats.org/officeDocument/2006/relationships/diagramQuickStyle" Target="../diagrams/quickStyle50.xml"/><Relationship Id="rId52" Type="http://schemas.openxmlformats.org/officeDocument/2006/relationships/diagramData" Target="../diagrams/data52.xml"/><Relationship Id="rId60" Type="http://schemas.openxmlformats.org/officeDocument/2006/relationships/diagramColors" Target="../diagrams/colors53.xml"/><Relationship Id="rId65" Type="http://schemas.openxmlformats.org/officeDocument/2006/relationships/diagramColors" Target="../diagrams/colors54.xml"/><Relationship Id="rId73" Type="http://schemas.openxmlformats.org/officeDocument/2006/relationships/diagramLayout" Target="../diagrams/layout56.xml"/><Relationship Id="rId78" Type="http://schemas.openxmlformats.org/officeDocument/2006/relationships/diagramLayout" Target="../diagrams/layout57.xml"/><Relationship Id="rId81" Type="http://schemas.microsoft.com/office/2007/relationships/diagramDrawing" Target="../diagrams/drawing57.xml"/><Relationship Id="rId86" Type="http://schemas.microsoft.com/office/2007/relationships/diagramDrawing" Target="../diagrams/drawing58.xml"/></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59.xml"/><Relationship Id="rId7" Type="http://schemas.microsoft.com/office/2007/relationships/diagramDrawing" Target="../diagrams/drawing59.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59.xml"/><Relationship Id="rId5" Type="http://schemas.openxmlformats.org/officeDocument/2006/relationships/diagramQuickStyle" Target="../diagrams/quickStyle59.xml"/><Relationship Id="rId4" Type="http://schemas.openxmlformats.org/officeDocument/2006/relationships/diagramLayout" Target="../diagrams/layout59.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61.xml"/><Relationship Id="rId13" Type="http://schemas.openxmlformats.org/officeDocument/2006/relationships/diagramLayout" Target="../diagrams/layout62.xml"/><Relationship Id="rId18" Type="http://schemas.openxmlformats.org/officeDocument/2006/relationships/diagramLayout" Target="../diagrams/layout63.xml"/><Relationship Id="rId3" Type="http://schemas.openxmlformats.org/officeDocument/2006/relationships/diagramLayout" Target="../diagrams/layout60.xml"/><Relationship Id="rId21" Type="http://schemas.microsoft.com/office/2007/relationships/diagramDrawing" Target="../diagrams/drawing63.xml"/><Relationship Id="rId7" Type="http://schemas.openxmlformats.org/officeDocument/2006/relationships/diagramData" Target="../diagrams/data61.xml"/><Relationship Id="rId12" Type="http://schemas.openxmlformats.org/officeDocument/2006/relationships/diagramData" Target="../diagrams/data62.xml"/><Relationship Id="rId17" Type="http://schemas.openxmlformats.org/officeDocument/2006/relationships/diagramData" Target="../diagrams/data63.xml"/><Relationship Id="rId2" Type="http://schemas.openxmlformats.org/officeDocument/2006/relationships/diagramData" Target="../diagrams/data60.xml"/><Relationship Id="rId16" Type="http://schemas.microsoft.com/office/2007/relationships/diagramDrawing" Target="../diagrams/drawing62.xml"/><Relationship Id="rId20" Type="http://schemas.openxmlformats.org/officeDocument/2006/relationships/diagramColors" Target="../diagrams/colors63.xml"/><Relationship Id="rId1" Type="http://schemas.openxmlformats.org/officeDocument/2006/relationships/slideLayout" Target="../slideLayouts/slideLayout12.xml"/><Relationship Id="rId6" Type="http://schemas.microsoft.com/office/2007/relationships/diagramDrawing" Target="../diagrams/drawing60.xml"/><Relationship Id="rId11" Type="http://schemas.microsoft.com/office/2007/relationships/diagramDrawing" Target="../diagrams/drawing61.xml"/><Relationship Id="rId5" Type="http://schemas.openxmlformats.org/officeDocument/2006/relationships/diagramColors" Target="../diagrams/colors60.xml"/><Relationship Id="rId15" Type="http://schemas.openxmlformats.org/officeDocument/2006/relationships/diagramColors" Target="../diagrams/colors62.xml"/><Relationship Id="rId10" Type="http://schemas.openxmlformats.org/officeDocument/2006/relationships/diagramColors" Target="../diagrams/colors61.xml"/><Relationship Id="rId19" Type="http://schemas.openxmlformats.org/officeDocument/2006/relationships/diagramQuickStyle" Target="../diagrams/quickStyle63.xml"/><Relationship Id="rId4" Type="http://schemas.openxmlformats.org/officeDocument/2006/relationships/diagramQuickStyle" Target="../diagrams/quickStyle60.xml"/><Relationship Id="rId9" Type="http://schemas.openxmlformats.org/officeDocument/2006/relationships/diagramQuickStyle" Target="../diagrams/quickStyle61.xml"/><Relationship Id="rId14" Type="http://schemas.openxmlformats.org/officeDocument/2006/relationships/diagramQuickStyle" Target="../diagrams/quickStyle62.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65.xml"/><Relationship Id="rId13" Type="http://schemas.openxmlformats.org/officeDocument/2006/relationships/diagramLayout" Target="../diagrams/layout66.xml"/><Relationship Id="rId18" Type="http://schemas.openxmlformats.org/officeDocument/2006/relationships/diagramLayout" Target="../diagrams/layout67.xml"/><Relationship Id="rId3" Type="http://schemas.openxmlformats.org/officeDocument/2006/relationships/diagramLayout" Target="../diagrams/layout64.xml"/><Relationship Id="rId21" Type="http://schemas.microsoft.com/office/2007/relationships/diagramDrawing" Target="../diagrams/drawing67.xml"/><Relationship Id="rId7" Type="http://schemas.openxmlformats.org/officeDocument/2006/relationships/diagramData" Target="../diagrams/data65.xml"/><Relationship Id="rId12" Type="http://schemas.openxmlformats.org/officeDocument/2006/relationships/diagramData" Target="../diagrams/data66.xml"/><Relationship Id="rId17" Type="http://schemas.openxmlformats.org/officeDocument/2006/relationships/diagramData" Target="../diagrams/data67.xml"/><Relationship Id="rId2" Type="http://schemas.openxmlformats.org/officeDocument/2006/relationships/diagramData" Target="../diagrams/data64.xml"/><Relationship Id="rId16" Type="http://schemas.microsoft.com/office/2007/relationships/diagramDrawing" Target="../diagrams/drawing66.xml"/><Relationship Id="rId20" Type="http://schemas.openxmlformats.org/officeDocument/2006/relationships/diagramColors" Target="../diagrams/colors67.xml"/><Relationship Id="rId1" Type="http://schemas.openxmlformats.org/officeDocument/2006/relationships/slideLayout" Target="../slideLayouts/slideLayout12.xml"/><Relationship Id="rId6" Type="http://schemas.microsoft.com/office/2007/relationships/diagramDrawing" Target="../diagrams/drawing64.xml"/><Relationship Id="rId11" Type="http://schemas.microsoft.com/office/2007/relationships/diagramDrawing" Target="../diagrams/drawing65.xml"/><Relationship Id="rId5" Type="http://schemas.openxmlformats.org/officeDocument/2006/relationships/diagramColors" Target="../diagrams/colors64.xml"/><Relationship Id="rId15" Type="http://schemas.openxmlformats.org/officeDocument/2006/relationships/diagramColors" Target="../diagrams/colors66.xml"/><Relationship Id="rId10" Type="http://schemas.openxmlformats.org/officeDocument/2006/relationships/diagramColors" Target="../diagrams/colors65.xml"/><Relationship Id="rId19" Type="http://schemas.openxmlformats.org/officeDocument/2006/relationships/diagramQuickStyle" Target="../diagrams/quickStyle67.xml"/><Relationship Id="rId4" Type="http://schemas.openxmlformats.org/officeDocument/2006/relationships/diagramQuickStyle" Target="../diagrams/quickStyle64.xml"/><Relationship Id="rId9" Type="http://schemas.openxmlformats.org/officeDocument/2006/relationships/diagramQuickStyle" Target="../diagrams/quickStyle65.xml"/><Relationship Id="rId14" Type="http://schemas.openxmlformats.org/officeDocument/2006/relationships/diagramQuickStyle" Target="../diagrams/quickStyle66.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69.xml"/><Relationship Id="rId13" Type="http://schemas.openxmlformats.org/officeDocument/2006/relationships/diagramLayout" Target="../diagrams/layout70.xml"/><Relationship Id="rId18" Type="http://schemas.openxmlformats.org/officeDocument/2006/relationships/diagramLayout" Target="../diagrams/layout71.xml"/><Relationship Id="rId3" Type="http://schemas.openxmlformats.org/officeDocument/2006/relationships/diagramLayout" Target="../diagrams/layout68.xml"/><Relationship Id="rId21" Type="http://schemas.microsoft.com/office/2007/relationships/diagramDrawing" Target="../diagrams/drawing71.xml"/><Relationship Id="rId7" Type="http://schemas.openxmlformats.org/officeDocument/2006/relationships/diagramData" Target="../diagrams/data69.xml"/><Relationship Id="rId12" Type="http://schemas.openxmlformats.org/officeDocument/2006/relationships/diagramData" Target="../diagrams/data70.xml"/><Relationship Id="rId17" Type="http://schemas.openxmlformats.org/officeDocument/2006/relationships/diagramData" Target="../diagrams/data71.xml"/><Relationship Id="rId2" Type="http://schemas.openxmlformats.org/officeDocument/2006/relationships/diagramData" Target="../diagrams/data68.xml"/><Relationship Id="rId16" Type="http://schemas.microsoft.com/office/2007/relationships/diagramDrawing" Target="../diagrams/drawing70.xml"/><Relationship Id="rId20" Type="http://schemas.openxmlformats.org/officeDocument/2006/relationships/diagramColors" Target="../diagrams/colors71.xml"/><Relationship Id="rId1" Type="http://schemas.openxmlformats.org/officeDocument/2006/relationships/slideLayout" Target="../slideLayouts/slideLayout12.xml"/><Relationship Id="rId6" Type="http://schemas.microsoft.com/office/2007/relationships/diagramDrawing" Target="../diagrams/drawing68.xml"/><Relationship Id="rId11" Type="http://schemas.microsoft.com/office/2007/relationships/diagramDrawing" Target="../diagrams/drawing69.xml"/><Relationship Id="rId5" Type="http://schemas.openxmlformats.org/officeDocument/2006/relationships/diagramColors" Target="../diagrams/colors68.xml"/><Relationship Id="rId15" Type="http://schemas.openxmlformats.org/officeDocument/2006/relationships/diagramColors" Target="../diagrams/colors70.xml"/><Relationship Id="rId10" Type="http://schemas.openxmlformats.org/officeDocument/2006/relationships/diagramColors" Target="../diagrams/colors69.xml"/><Relationship Id="rId19" Type="http://schemas.openxmlformats.org/officeDocument/2006/relationships/diagramQuickStyle" Target="../diagrams/quickStyle71.xml"/><Relationship Id="rId4" Type="http://schemas.openxmlformats.org/officeDocument/2006/relationships/diagramQuickStyle" Target="../diagrams/quickStyle68.xml"/><Relationship Id="rId9" Type="http://schemas.openxmlformats.org/officeDocument/2006/relationships/diagramQuickStyle" Target="../diagrams/quickStyle69.xml"/><Relationship Id="rId14" Type="http://schemas.openxmlformats.org/officeDocument/2006/relationships/diagramQuickStyle" Target="../diagrams/quickStyle70.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73.xml"/><Relationship Id="rId13" Type="http://schemas.openxmlformats.org/officeDocument/2006/relationships/diagramLayout" Target="../diagrams/layout74.xml"/><Relationship Id="rId3" Type="http://schemas.openxmlformats.org/officeDocument/2006/relationships/diagramLayout" Target="../diagrams/layout72.xml"/><Relationship Id="rId7" Type="http://schemas.openxmlformats.org/officeDocument/2006/relationships/diagramData" Target="../diagrams/data73.xml"/><Relationship Id="rId12" Type="http://schemas.openxmlformats.org/officeDocument/2006/relationships/diagramData" Target="../diagrams/data74.xml"/><Relationship Id="rId2" Type="http://schemas.openxmlformats.org/officeDocument/2006/relationships/diagramData" Target="../diagrams/data72.xml"/><Relationship Id="rId16" Type="http://schemas.microsoft.com/office/2007/relationships/diagramDrawing" Target="../diagrams/drawing74.xml"/><Relationship Id="rId1" Type="http://schemas.openxmlformats.org/officeDocument/2006/relationships/slideLayout" Target="../slideLayouts/slideLayout12.xml"/><Relationship Id="rId6" Type="http://schemas.microsoft.com/office/2007/relationships/diagramDrawing" Target="../diagrams/drawing72.xml"/><Relationship Id="rId11" Type="http://schemas.microsoft.com/office/2007/relationships/diagramDrawing" Target="../diagrams/drawing73.xml"/><Relationship Id="rId5" Type="http://schemas.openxmlformats.org/officeDocument/2006/relationships/diagramColors" Target="../diagrams/colors72.xml"/><Relationship Id="rId15" Type="http://schemas.openxmlformats.org/officeDocument/2006/relationships/diagramColors" Target="../diagrams/colors74.xml"/><Relationship Id="rId10" Type="http://schemas.openxmlformats.org/officeDocument/2006/relationships/diagramColors" Target="../diagrams/colors73.xml"/><Relationship Id="rId4" Type="http://schemas.openxmlformats.org/officeDocument/2006/relationships/diagramQuickStyle" Target="../diagrams/quickStyle72.xml"/><Relationship Id="rId9" Type="http://schemas.openxmlformats.org/officeDocument/2006/relationships/diagramQuickStyle" Target="../diagrams/quickStyle73.xml"/><Relationship Id="rId14" Type="http://schemas.openxmlformats.org/officeDocument/2006/relationships/diagramQuickStyle" Target="../diagrams/quickStyle74.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76.xml"/><Relationship Id="rId3" Type="http://schemas.openxmlformats.org/officeDocument/2006/relationships/diagramLayout" Target="../diagrams/layout75.xml"/><Relationship Id="rId7" Type="http://schemas.openxmlformats.org/officeDocument/2006/relationships/diagramData" Target="../diagrams/data76.xml"/><Relationship Id="rId2" Type="http://schemas.openxmlformats.org/officeDocument/2006/relationships/diagramData" Target="../diagrams/data75.xml"/><Relationship Id="rId1" Type="http://schemas.openxmlformats.org/officeDocument/2006/relationships/slideLayout" Target="../slideLayouts/slideLayout12.xml"/><Relationship Id="rId6" Type="http://schemas.microsoft.com/office/2007/relationships/diagramDrawing" Target="../diagrams/drawing75.xml"/><Relationship Id="rId11" Type="http://schemas.microsoft.com/office/2007/relationships/diagramDrawing" Target="../diagrams/drawing76.xml"/><Relationship Id="rId5" Type="http://schemas.openxmlformats.org/officeDocument/2006/relationships/diagramColors" Target="../diagrams/colors75.xml"/><Relationship Id="rId10" Type="http://schemas.openxmlformats.org/officeDocument/2006/relationships/diagramColors" Target="../diagrams/colors76.xml"/><Relationship Id="rId4" Type="http://schemas.openxmlformats.org/officeDocument/2006/relationships/diagramQuickStyle" Target="../diagrams/quickStyle75.xml"/><Relationship Id="rId9" Type="http://schemas.openxmlformats.org/officeDocument/2006/relationships/diagramQuickStyle" Target="../diagrams/quickStyle76.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77.xml"/><Relationship Id="rId7" Type="http://schemas.microsoft.com/office/2007/relationships/diagramDrawing" Target="../diagrams/drawing77.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77.xml"/><Relationship Id="rId5" Type="http://schemas.openxmlformats.org/officeDocument/2006/relationships/diagramQuickStyle" Target="../diagrams/quickStyle77.xml"/><Relationship Id="rId4" Type="http://schemas.openxmlformats.org/officeDocument/2006/relationships/diagramLayout" Target="../diagrams/layout77.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78.xml"/><Relationship Id="rId7" Type="http://schemas.microsoft.com/office/2007/relationships/diagramDrawing" Target="../diagrams/drawing78.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78.xml"/><Relationship Id="rId5" Type="http://schemas.openxmlformats.org/officeDocument/2006/relationships/diagramQuickStyle" Target="../diagrams/quickStyle78.xml"/><Relationship Id="rId4" Type="http://schemas.openxmlformats.org/officeDocument/2006/relationships/diagramLayout" Target="../diagrams/layout78.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30.xml.rels><?xml version="1.0" encoding="UTF-8" standalone="yes"?>
<Relationships xmlns="http://schemas.openxmlformats.org/package/2006/relationships"><Relationship Id="rId3" Type="http://schemas.openxmlformats.org/officeDocument/2006/relationships/hyperlink" Target="mailto:strategia.innovazione@regione.sicilia.it" TargetMode="External"/><Relationship Id="rId2" Type="http://schemas.openxmlformats.org/officeDocument/2006/relationships/hyperlink" Target="http://www.innovatoripa.it/" TargetMode="Externa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18" Type="http://schemas.openxmlformats.org/officeDocument/2006/relationships/diagramLayout" Target="../diagrams/layout10.xml"/><Relationship Id="rId3" Type="http://schemas.openxmlformats.org/officeDocument/2006/relationships/diagramLayout" Target="../diagrams/layout7.xml"/><Relationship Id="rId21" Type="http://schemas.microsoft.com/office/2007/relationships/diagramDrawing" Target="../diagrams/drawing10.xml"/><Relationship Id="rId7" Type="http://schemas.openxmlformats.org/officeDocument/2006/relationships/diagramData" Target="../diagrams/data8.xml"/><Relationship Id="rId12" Type="http://schemas.openxmlformats.org/officeDocument/2006/relationships/diagramData" Target="../diagrams/data9.xml"/><Relationship Id="rId17" Type="http://schemas.openxmlformats.org/officeDocument/2006/relationships/diagramData" Target="../diagrams/data10.xml"/><Relationship Id="rId2" Type="http://schemas.openxmlformats.org/officeDocument/2006/relationships/diagramData" Target="../diagrams/data7.xml"/><Relationship Id="rId16" Type="http://schemas.microsoft.com/office/2007/relationships/diagramDrawing" Target="../diagrams/drawing9.xml"/><Relationship Id="rId20" Type="http://schemas.openxmlformats.org/officeDocument/2006/relationships/diagramColors" Target="../diagrams/colors10.xml"/><Relationship Id="rId1" Type="http://schemas.openxmlformats.org/officeDocument/2006/relationships/slideLayout" Target="../slideLayouts/slideLayout1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5" Type="http://schemas.openxmlformats.org/officeDocument/2006/relationships/diagramColors" Target="../diagrams/colors9.xml"/><Relationship Id="rId10" Type="http://schemas.openxmlformats.org/officeDocument/2006/relationships/diagramColors" Target="../diagrams/colors8.xml"/><Relationship Id="rId19" Type="http://schemas.openxmlformats.org/officeDocument/2006/relationships/diagramQuickStyle" Target="../diagrams/quickStyle10.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diagramQuickStyle" Target="../diagrams/quickStyle9.xml"/><Relationship Id="rId22" Type="http://schemas.openxmlformats.org/officeDocument/2006/relationships/image" Target="../media/image10.wmf"/></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diagramLayout" Target="../diagrams/layout11.xml"/><Relationship Id="rId7" Type="http://schemas.openxmlformats.org/officeDocument/2006/relationships/diagramData" Target="../diagrams/data12.xml"/><Relationship Id="rId2" Type="http://schemas.openxmlformats.org/officeDocument/2006/relationships/diagramData" Target="../diagrams/data11.xml"/><Relationship Id="rId1" Type="http://schemas.openxmlformats.org/officeDocument/2006/relationships/slideLayout" Target="../slideLayouts/slideLayout12.xml"/><Relationship Id="rId6" Type="http://schemas.microsoft.com/office/2007/relationships/diagramDrawing" Target="../diagrams/drawing11.xml"/><Relationship Id="rId11" Type="http://schemas.microsoft.com/office/2007/relationships/diagramDrawing" Target="../diagrams/drawing12.xml"/><Relationship Id="rId5" Type="http://schemas.openxmlformats.org/officeDocument/2006/relationships/diagramColors" Target="../diagrams/colors11.xml"/><Relationship Id="rId10" Type="http://schemas.openxmlformats.org/officeDocument/2006/relationships/diagramColors" Target="../diagrams/colors12.xml"/><Relationship Id="rId4" Type="http://schemas.openxmlformats.org/officeDocument/2006/relationships/diagramQuickStyle" Target="../diagrams/quickStyle11.xml"/><Relationship Id="rId9" Type="http://schemas.openxmlformats.org/officeDocument/2006/relationships/diagramQuickStyle" Target="../diagrams/quickStyle1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12.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12.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69" name="Object 197"/>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9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307995" y="1131654"/>
            <a:ext cx="8724900" cy="738664"/>
          </a:xfrm>
          <a:prstGeom prst="rect">
            <a:avLst/>
          </a:prstGeom>
          <a:noFill/>
        </p:spPr>
        <p:txBody>
          <a:bodyPr lIns="0" tIns="0" rIns="0" bIns="0">
            <a:spAutoFit/>
          </a:bodyPr>
          <a:lstStyle/>
          <a:p>
            <a:pPr algn="ctr">
              <a:defRPr/>
            </a:pPr>
            <a:r>
              <a:rPr lang="it-IT" altLang="it-IT" sz="2400" b="1" dirty="0">
                <a:solidFill>
                  <a:srgbClr val="0B538F"/>
                </a:solidFill>
                <a:latin typeface="Neo Sans Std Medium" pitchFamily="34" charset="0"/>
              </a:rPr>
              <a:t>TAVOLO TEMATICO </a:t>
            </a:r>
            <a:endParaRPr lang="it-IT" altLang="it-IT" sz="2400" b="1" dirty="0" smtClean="0">
              <a:solidFill>
                <a:srgbClr val="0B538F"/>
              </a:solidFill>
              <a:latin typeface="Neo Sans Std Medium" pitchFamily="34" charset="0"/>
            </a:endParaRPr>
          </a:p>
          <a:p>
            <a:pPr algn="ctr">
              <a:defRPr/>
            </a:pPr>
            <a:r>
              <a:rPr lang="it-IT" altLang="it-IT" sz="2400" b="1" dirty="0" smtClean="0">
                <a:solidFill>
                  <a:srgbClr val="0B538F"/>
                </a:solidFill>
                <a:latin typeface="Neo Sans Std Medium" pitchFamily="34" charset="0"/>
              </a:rPr>
              <a:t>ENERGIA</a:t>
            </a:r>
            <a:endParaRPr lang="en-US" sz="2400" b="1" dirty="0">
              <a:solidFill>
                <a:srgbClr val="0B538F"/>
              </a:solidFill>
              <a:latin typeface="Neo Sans Std Medium" pitchFamily="34" charset="0"/>
            </a:endParaRPr>
          </a:p>
        </p:txBody>
      </p:sp>
      <p:cxnSp>
        <p:nvCxnSpPr>
          <p:cNvPr id="11" name="Straight Connector 10"/>
          <p:cNvCxnSpPr/>
          <p:nvPr/>
        </p:nvCxnSpPr>
        <p:spPr>
          <a:xfrm rot="5400000">
            <a:off x="4662855" y="-1183716"/>
            <a:ext cx="0" cy="6345115"/>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pic>
        <p:nvPicPr>
          <p:cNvPr id="3272" name="Immagine 38"/>
          <p:cNvPicPr>
            <a:picLocks noChangeAspect="1"/>
          </p:cNvPicPr>
          <p:nvPr/>
        </p:nvPicPr>
        <p:blipFill>
          <a:blip r:embed="rId7" cstate="print"/>
          <a:srcRect/>
          <a:stretch>
            <a:fillRect/>
          </a:stretch>
        </p:blipFill>
        <p:spPr bwMode="auto">
          <a:xfrm>
            <a:off x="3615837" y="2171855"/>
            <a:ext cx="2094035" cy="1096962"/>
          </a:xfrm>
          <a:prstGeom prst="rect">
            <a:avLst/>
          </a:prstGeom>
          <a:noFill/>
          <a:ln w="9525">
            <a:noFill/>
            <a:miter lim="800000"/>
            <a:headEnd/>
            <a:tailEnd/>
          </a:ln>
        </p:spPr>
      </p:pic>
      <p:sp>
        <p:nvSpPr>
          <p:cNvPr id="3273" name="Rettangolo 5"/>
          <p:cNvSpPr>
            <a:spLocks noChangeArrowheads="1"/>
          </p:cNvSpPr>
          <p:nvPr/>
        </p:nvSpPr>
        <p:spPr bwMode="auto">
          <a:xfrm>
            <a:off x="548054" y="3839562"/>
            <a:ext cx="7709389" cy="338554"/>
          </a:xfrm>
          <a:prstGeom prst="rect">
            <a:avLst/>
          </a:prstGeom>
          <a:noFill/>
          <a:ln w="9525">
            <a:noFill/>
            <a:miter lim="800000"/>
            <a:headEnd/>
            <a:tailEnd/>
          </a:ln>
        </p:spPr>
        <p:txBody>
          <a:bodyPr>
            <a:spAutoFit/>
          </a:bodyPr>
          <a:lstStyle/>
          <a:p>
            <a:pPr algn="ctr"/>
            <a:r>
              <a:rPr lang="it-IT" sz="1600" b="1" dirty="0" smtClean="0">
                <a:solidFill>
                  <a:srgbClr val="0B538F"/>
                </a:solidFill>
                <a:latin typeface="Neo Sans Std Medium"/>
              </a:rPr>
              <a:t>Agenda dei Lavori</a:t>
            </a:r>
            <a:endParaRPr lang="it-IT" sz="1600" b="1" dirty="0">
              <a:solidFill>
                <a:srgbClr val="0B538F"/>
              </a:solidFill>
              <a:latin typeface="Neo Sans Std Medium"/>
            </a:endParaRPr>
          </a:p>
        </p:txBody>
      </p:sp>
      <p:sp>
        <p:nvSpPr>
          <p:cNvPr id="3274" name="CasellaDiTesto 6"/>
          <p:cNvSpPr txBox="1">
            <a:spLocks noChangeArrowheads="1"/>
          </p:cNvSpPr>
          <p:nvPr/>
        </p:nvSpPr>
        <p:spPr bwMode="auto">
          <a:xfrm>
            <a:off x="1954823" y="4868863"/>
            <a:ext cx="4895850" cy="1323439"/>
          </a:xfrm>
          <a:prstGeom prst="rect">
            <a:avLst/>
          </a:prstGeom>
          <a:noFill/>
          <a:ln w="9525">
            <a:noFill/>
            <a:miter lim="800000"/>
            <a:headEnd/>
            <a:tailEnd/>
          </a:ln>
        </p:spPr>
        <p:txBody>
          <a:bodyPr>
            <a:spAutoFit/>
          </a:bodyPr>
          <a:lstStyle/>
          <a:p>
            <a:pPr algn="ctr"/>
            <a:endParaRPr lang="it-IT" sz="800" b="1" dirty="0">
              <a:solidFill>
                <a:srgbClr val="0B538F"/>
              </a:solidFill>
              <a:latin typeface="Neo Sans Std Medium"/>
            </a:endParaRPr>
          </a:p>
          <a:p>
            <a:pPr algn="ctr"/>
            <a:r>
              <a:rPr lang="it-IT" sz="1200" b="1" dirty="0" smtClean="0">
                <a:solidFill>
                  <a:srgbClr val="0B538F"/>
                </a:solidFill>
                <a:latin typeface="Neo Sans Std Medium"/>
              </a:rPr>
              <a:t>Gruppo </a:t>
            </a:r>
            <a:r>
              <a:rPr lang="it-IT" sz="1200" b="1" dirty="0">
                <a:solidFill>
                  <a:srgbClr val="0B538F"/>
                </a:solidFill>
                <a:latin typeface="Neo Sans Std Medium"/>
              </a:rPr>
              <a:t>di Lavoro Interdipartimentale per la RIS 3 Sicilia</a:t>
            </a:r>
          </a:p>
          <a:p>
            <a:pPr algn="ctr"/>
            <a:r>
              <a:rPr lang="it-IT" sz="1200" b="1" dirty="0">
                <a:solidFill>
                  <a:srgbClr val="0B538F"/>
                </a:solidFill>
                <a:latin typeface="Neo Sans Std Medium"/>
              </a:rPr>
              <a:t>Palermo, </a:t>
            </a:r>
            <a:r>
              <a:rPr lang="it-IT" sz="1200" b="1" dirty="0" smtClean="0">
                <a:solidFill>
                  <a:srgbClr val="0B538F"/>
                </a:solidFill>
                <a:latin typeface="Neo Sans Std Medium"/>
              </a:rPr>
              <a:t>8 Maggio 2014</a:t>
            </a:r>
            <a:endParaRPr lang="it-IT" sz="1200" dirty="0">
              <a:solidFill>
                <a:srgbClr val="0B538F"/>
              </a:solidFill>
              <a:latin typeface="Neo Sans Std Medium"/>
            </a:endParaRPr>
          </a:p>
          <a:p>
            <a:pPr algn="ctr"/>
            <a:endParaRPr lang="it-IT" sz="1200" dirty="0" smtClean="0">
              <a:solidFill>
                <a:srgbClr val="0B538F"/>
              </a:solidFill>
              <a:latin typeface="Neo Sans Std Medium"/>
            </a:endParaRPr>
          </a:p>
          <a:p>
            <a:pPr algn="ctr"/>
            <a:endParaRPr lang="it-IT" sz="1200" dirty="0" smtClean="0">
              <a:solidFill>
                <a:srgbClr val="0B538F"/>
              </a:solidFill>
              <a:latin typeface="Neo Sans Std Medium"/>
            </a:endParaRPr>
          </a:p>
          <a:p>
            <a:pPr algn="ctr"/>
            <a:r>
              <a:rPr lang="it-IT" sz="1200" dirty="0" smtClean="0">
                <a:solidFill>
                  <a:srgbClr val="0B538F"/>
                </a:solidFill>
                <a:latin typeface="Neo Sans Std Medium"/>
              </a:rPr>
              <a:t>Consorzio ARCA</a:t>
            </a:r>
          </a:p>
          <a:p>
            <a:pPr algn="ctr"/>
            <a:r>
              <a:rPr lang="it-IT" sz="1200" dirty="0" smtClean="0">
                <a:solidFill>
                  <a:srgbClr val="0B538F"/>
                </a:solidFill>
                <a:latin typeface="Neo Sans Std Medium"/>
              </a:rPr>
              <a:t>Edificio 16, viale delle Scienze</a:t>
            </a:r>
            <a:endParaRPr lang="it-IT" sz="1200" b="1" dirty="0">
              <a:solidFill>
                <a:srgbClr val="0B538F"/>
              </a:solidFill>
              <a:latin typeface="Neo Sans Std Medium"/>
            </a:endParaRPr>
          </a:p>
        </p:txBody>
      </p:sp>
    </p:spTree>
    <p:extLst>
      <p:ext uri="{BB962C8B-B14F-4D97-AF65-F5344CB8AC3E}">
        <p14:creationId xmlns:p14="http://schemas.microsoft.com/office/powerpoint/2010/main" val="3622410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a 2"/>
          <p:cNvGraphicFramePr>
            <a:graphicFrameLocks noGrp="1"/>
          </p:cNvGraphicFramePr>
          <p:nvPr>
            <p:extLst>
              <p:ext uri="{D42A27DB-BD31-4B8C-83A1-F6EECF244321}">
                <p14:modId xmlns:p14="http://schemas.microsoft.com/office/powerpoint/2010/main" val="536843861"/>
              </p:ext>
            </p:extLst>
          </p:nvPr>
        </p:nvGraphicFramePr>
        <p:xfrm>
          <a:off x="1187624" y="2204864"/>
          <a:ext cx="7200800" cy="3099176"/>
        </p:xfrm>
        <a:graphic>
          <a:graphicData uri="http://schemas.openxmlformats.org/drawingml/2006/table">
            <a:tbl>
              <a:tblPr>
                <a:tableStyleId>{5FD0F851-EC5A-4D38-B0AD-8093EC10F338}</a:tableStyleId>
              </a:tblPr>
              <a:tblGrid>
                <a:gridCol w="1045072"/>
                <a:gridCol w="974975"/>
                <a:gridCol w="5180753"/>
              </a:tblGrid>
              <a:tr h="366583">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6:2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9:3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latin typeface="+mn-lt"/>
                          <a:ea typeface="+mn-ea"/>
                          <a:cs typeface="+mn-cs"/>
                        </a:rPr>
                        <a:t>Gli ambiti di specializzazione</a:t>
                      </a:r>
                    </a:p>
                  </a:txBody>
                  <a:tcPr marL="9525" marR="9525" marT="9525" marB="0" anchor="b">
                    <a:solidFill>
                      <a:schemeClr val="accent1">
                        <a:lumMod val="20000"/>
                        <a:lumOff val="80000"/>
                      </a:schemeClr>
                    </a:solidFill>
                  </a:tcPr>
                </a:tc>
              </a:tr>
              <a:tr h="366583">
                <a:tc rowSpan="3"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i="1" u="none" strike="noStrike" kern="1200" dirty="0" smtClean="0">
                          <a:solidFill>
                            <a:schemeClr val="accent1">
                              <a:lumMod val="75000"/>
                            </a:schemeClr>
                          </a:solidFill>
                          <a:effectLst/>
                          <a:latin typeface="+mn-lt"/>
                          <a:ea typeface="+mn-ea"/>
                          <a:cs typeface="+mn-cs"/>
                        </a:rPr>
                        <a:t>Regione Siciliana</a:t>
                      </a:r>
                    </a:p>
                    <a:p>
                      <a:pPr algn="ctr" fontAlgn="t"/>
                      <a:endParaRPr lang="it-IT" sz="1400" b="1" i="1" u="none" strike="noStrike" kern="1200" dirty="0" smtClean="0">
                        <a:solidFill>
                          <a:schemeClr val="accent1">
                            <a:lumMod val="75000"/>
                          </a:schemeClr>
                        </a:solidFill>
                        <a:effectLst/>
                        <a:latin typeface="+mn-lt"/>
                        <a:ea typeface="+mn-ea"/>
                        <a:cs typeface="+mn-cs"/>
                      </a:endParaRPr>
                    </a:p>
                    <a:p>
                      <a:pPr algn="ctr" fontAlgn="t"/>
                      <a:r>
                        <a:rPr lang="it-IT" sz="1400" b="1" i="1" u="none" strike="noStrike" kern="1200" dirty="0" smtClean="0">
                          <a:solidFill>
                            <a:schemeClr val="accent1">
                              <a:lumMod val="75000"/>
                            </a:schemeClr>
                          </a:solidFill>
                          <a:effectLst/>
                          <a:latin typeface="+mn-lt"/>
                          <a:ea typeface="+mn-ea"/>
                          <a:cs typeface="+mn-cs"/>
                        </a:rPr>
                        <a:t>NVVIP</a:t>
                      </a:r>
                    </a:p>
                    <a:p>
                      <a:pPr algn="ctr" fontAlgn="t"/>
                      <a:r>
                        <a:rPr lang="it-IT" sz="1400" b="1" i="1" u="none" strike="noStrike" kern="1200" dirty="0" smtClean="0">
                          <a:solidFill>
                            <a:schemeClr val="accent1">
                              <a:lumMod val="75000"/>
                            </a:schemeClr>
                          </a:solidFill>
                          <a:effectLst/>
                          <a:latin typeface="+mn-lt"/>
                          <a:ea typeface="+mn-ea"/>
                          <a:cs typeface="+mn-cs"/>
                        </a:rPr>
                        <a:t>FORMEZ PA</a:t>
                      </a:r>
                    </a:p>
                  </a:txBody>
                  <a:tcPr marL="9525" marR="9525" marT="9525" marB="0"/>
                </a:tc>
                <a:tc rowSpan="3" hMerge="1">
                  <a:txBody>
                    <a:bodyPr/>
                    <a:lstStyle/>
                    <a:p>
                      <a:endParaRPr lang="it-IT"/>
                    </a:p>
                  </a:txBody>
                  <a:tcPr/>
                </a:tc>
                <a:tc>
                  <a:txBody>
                    <a:bodyPr/>
                    <a:lstStyle/>
                    <a:p>
                      <a:pPr marL="0" algn="just" defTabSz="914400" rtl="0" eaLnBrk="1" fontAlgn="b" latinLnBrk="0" hangingPunct="1"/>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r>
                        <a:rPr lang="it-IT" sz="1400" b="1" u="none" strike="noStrike" kern="1200" dirty="0" smtClean="0">
                          <a:solidFill>
                            <a:schemeClr val="accent1">
                              <a:lumMod val="75000"/>
                            </a:schemeClr>
                          </a:solidFill>
                          <a:effectLst/>
                          <a:latin typeface="+mn-lt"/>
                          <a:ea typeface="+mn-ea"/>
                          <a:cs typeface="+mn-cs"/>
                        </a:rPr>
                        <a:t>Delimitazione </a:t>
                      </a:r>
                      <a:r>
                        <a:rPr lang="it-IT" sz="1400" b="1" u="none" strike="noStrike" kern="1200" dirty="0">
                          <a:solidFill>
                            <a:schemeClr val="accent1">
                              <a:lumMod val="75000"/>
                            </a:schemeClr>
                          </a:solidFill>
                          <a:effectLst/>
                          <a:latin typeface="+mn-lt"/>
                          <a:ea typeface="+mn-ea"/>
                          <a:cs typeface="+mn-cs"/>
                        </a:rPr>
                        <a:t>ambito tematico </a:t>
                      </a:r>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r>
                        <a:rPr lang="it-IT" sz="1400" b="1" u="none" strike="noStrike" kern="1200" dirty="0">
                          <a:solidFill>
                            <a:schemeClr val="accent1">
                              <a:lumMod val="75000"/>
                            </a:schemeClr>
                          </a:solidFill>
                          <a:effectLst/>
                          <a:latin typeface="+mn-lt"/>
                          <a:ea typeface="+mn-ea"/>
                          <a:cs typeface="+mn-cs"/>
                        </a:rPr>
                        <a:t>Stato dell'arte e ambiti di approfondimento dell'ambito:</a:t>
                      </a:r>
                      <a:br>
                        <a:rPr lang="it-IT" sz="1400" b="1" u="none" strike="noStrike" kern="1200" dirty="0">
                          <a:solidFill>
                            <a:schemeClr val="accent1">
                              <a:lumMod val="75000"/>
                            </a:schemeClr>
                          </a:solidFill>
                          <a:effectLst/>
                          <a:latin typeface="+mn-lt"/>
                          <a:ea typeface="+mn-ea"/>
                          <a:cs typeface="+mn-cs"/>
                        </a:rPr>
                      </a:br>
                      <a:r>
                        <a:rPr lang="it-IT" sz="1400" b="1" u="none" strike="noStrike" kern="1200" dirty="0" smtClean="0">
                          <a:solidFill>
                            <a:srgbClr val="FF0000"/>
                          </a:solidFill>
                          <a:effectLst/>
                          <a:latin typeface="+mn-lt"/>
                          <a:ea typeface="+mn-ea"/>
                          <a:cs typeface="+mn-cs"/>
                        </a:rPr>
                        <a:t>Sistema produttivo</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Sistema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conoscenz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dicazioni </a:t>
                      </a:r>
                      <a:r>
                        <a:rPr lang="it-IT" sz="1400" b="1" u="none" strike="noStrike" kern="1200" dirty="0">
                          <a:solidFill>
                            <a:srgbClr val="FF0000"/>
                          </a:solidFill>
                          <a:effectLst/>
                          <a:latin typeface="+mn-lt"/>
                          <a:ea typeface="+mn-ea"/>
                          <a:cs typeface="+mn-cs"/>
                        </a:rPr>
                        <a:t>di </a:t>
                      </a:r>
                      <a:r>
                        <a:rPr lang="it-IT" sz="1400" b="1" u="none" strike="noStrike" kern="1200" dirty="0" smtClean="0">
                          <a:solidFill>
                            <a:srgbClr val="FF0000"/>
                          </a:solidFill>
                          <a:effectLst/>
                          <a:latin typeface="+mn-lt"/>
                          <a:ea typeface="+mn-ea"/>
                          <a:cs typeface="+mn-cs"/>
                        </a:rPr>
                        <a:t>priorità</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Contributo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KET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R</a:t>
                      </a:r>
                      <a:r>
                        <a:rPr lang="it-IT" sz="1400" b="1" u="none" strike="noStrike" kern="1200" dirty="0" smtClean="0">
                          <a:solidFill>
                            <a:srgbClr val="FF0000"/>
                          </a:solidFill>
                          <a:effectLst/>
                          <a:latin typeface="+mn-lt"/>
                          <a:ea typeface="+mn-ea"/>
                          <a:cs typeface="+mn-cs"/>
                        </a:rPr>
                        <a:t>uolo dell'innovazione social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tersezione </a:t>
                      </a:r>
                      <a:r>
                        <a:rPr lang="it-IT" sz="1400" b="1" u="none" strike="noStrike" kern="1200" dirty="0">
                          <a:solidFill>
                            <a:srgbClr val="FF0000"/>
                          </a:solidFill>
                          <a:effectLst/>
                          <a:latin typeface="+mn-lt"/>
                          <a:ea typeface="+mn-ea"/>
                          <a:cs typeface="+mn-cs"/>
                        </a:rPr>
                        <a:t>con altri ambiti tecnologici e </a:t>
                      </a:r>
                      <a:r>
                        <a:rPr lang="it-IT" sz="1400" b="1" u="none" strike="noStrike" kern="1200" dirty="0" smtClean="0">
                          <a:solidFill>
                            <a:srgbClr val="FF0000"/>
                          </a:solidFill>
                          <a:effectLst/>
                          <a:latin typeface="+mn-lt"/>
                          <a:ea typeface="+mn-ea"/>
                          <a:cs typeface="+mn-cs"/>
                        </a:rPr>
                        <a:t>produttivi</a:t>
                      </a: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bl>
          </a:graphicData>
        </a:graphic>
      </p:graphicFrame>
      <p:graphicFrame>
        <p:nvGraphicFramePr>
          <p:cNvPr id="4" name="Diagramma 3"/>
          <p:cNvGraphicFramePr/>
          <p:nvPr>
            <p:extLst/>
          </p:nvPr>
        </p:nvGraphicFramePr>
        <p:xfrm>
          <a:off x="1259632" y="1844824"/>
          <a:ext cx="7128792"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163781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5"/>
          <p:cNvSpPr>
            <a:spLocks noGrp="1"/>
          </p:cNvSpPr>
          <p:nvPr>
            <p:ph type="sldNum" sz="quarter" idx="4294967295"/>
          </p:nvPr>
        </p:nvSpPr>
        <p:spPr bwMode="auto">
          <a:xfrm>
            <a:off x="0" y="6131170"/>
            <a:ext cx="2057400" cy="337038"/>
          </a:xfrm>
          <a:prstGeom prst="rect">
            <a:avLst/>
          </a:prstGeom>
          <a:noFill/>
          <a:ln>
            <a:miter lim="800000"/>
            <a:headEnd/>
            <a:tailEnd/>
          </a:ln>
        </p:spPr>
        <p:txBody>
          <a:bodyPr/>
          <a:lstStyle/>
          <a:p>
            <a:fld id="{7F82A082-D13F-44DA-8257-855D720B2527}" type="slidenum">
              <a:rPr lang="en-US"/>
              <a:pPr/>
              <a:t>11</a:t>
            </a:fld>
            <a:r>
              <a:rPr lang="en-US"/>
              <a:t>|</a:t>
            </a:r>
          </a:p>
        </p:txBody>
      </p:sp>
      <p:grpSp>
        <p:nvGrpSpPr>
          <p:cNvPr id="32770" name="Gruppo 9"/>
          <p:cNvGrpSpPr>
            <a:grpSpLocks/>
          </p:cNvGrpSpPr>
          <p:nvPr/>
        </p:nvGrpSpPr>
        <p:grpSpPr bwMode="auto">
          <a:xfrm>
            <a:off x="2757854" y="1238250"/>
            <a:ext cx="5930412" cy="5035062"/>
            <a:chOff x="2088859" y="836713"/>
            <a:chExt cx="6392531" cy="5453162"/>
          </a:xfrm>
        </p:grpSpPr>
        <p:graphicFrame>
          <p:nvGraphicFramePr>
            <p:cNvPr id="48" name="Diagramma 47"/>
            <p:cNvGraphicFramePr/>
            <p:nvPr/>
          </p:nvGraphicFramePr>
          <p:xfrm>
            <a:off x="3951012" y="2432634"/>
            <a:ext cx="2519154" cy="2231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2784" name="Group 1"/>
            <p:cNvGrpSpPr>
              <a:grpSpLocks/>
            </p:cNvGrpSpPr>
            <p:nvPr/>
          </p:nvGrpSpPr>
          <p:grpSpPr bwMode="auto">
            <a:xfrm>
              <a:off x="2088859" y="836713"/>
              <a:ext cx="6392531" cy="5453162"/>
              <a:chOff x="1616075" y="669925"/>
              <a:chExt cx="6077711" cy="5515510"/>
            </a:xfrm>
          </p:grpSpPr>
          <p:sp>
            <p:nvSpPr>
              <p:cNvPr id="50" name="Krans 44"/>
              <p:cNvSpPr>
                <a:spLocks noChangeArrowheads="1"/>
              </p:cNvSpPr>
              <p:nvPr/>
            </p:nvSpPr>
            <p:spPr bwMode="auto">
              <a:xfrm>
                <a:off x="3005224" y="1801599"/>
                <a:ext cx="3171763" cy="3168689"/>
              </a:xfrm>
              <a:custGeom>
                <a:avLst/>
                <a:gdLst>
                  <a:gd name="T0" fmla="*/ 1585913 w 3171825"/>
                  <a:gd name="T1" fmla="*/ 0 h 3170238"/>
                  <a:gd name="T2" fmla="*/ 464503 w 3171825"/>
                  <a:gd name="T3" fmla="*/ 464270 h 3170238"/>
                  <a:gd name="T4" fmla="*/ 0 w 3171825"/>
                  <a:gd name="T5" fmla="*/ 1585119 h 3170238"/>
                  <a:gd name="T6" fmla="*/ 464503 w 3171825"/>
                  <a:gd name="T7" fmla="*/ 2705968 h 3170238"/>
                  <a:gd name="T8" fmla="*/ 1585913 w 3171825"/>
                  <a:gd name="T9" fmla="*/ 3170238 h 3170238"/>
                  <a:gd name="T10" fmla="*/ 2707322 w 3171825"/>
                  <a:gd name="T11" fmla="*/ 2705968 h 3170238"/>
                  <a:gd name="T12" fmla="*/ 3171825 w 3171825"/>
                  <a:gd name="T13" fmla="*/ 1585119 h 3170238"/>
                  <a:gd name="T14" fmla="*/ 2707322 w 3171825"/>
                  <a:gd name="T15" fmla="*/ 464270 h 3170238"/>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64503 w 3171825"/>
                  <a:gd name="T25" fmla="*/ 464270 h 3170238"/>
                  <a:gd name="T26" fmla="*/ 2707322 w 3171825"/>
                  <a:gd name="T27" fmla="*/ 2705968 h 3170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71825" h="3170238">
                    <a:moveTo>
                      <a:pt x="0" y="1585119"/>
                    </a:moveTo>
                    <a:lnTo>
                      <a:pt x="0" y="1585119"/>
                    </a:lnTo>
                    <a:cubicBezTo>
                      <a:pt x="1" y="709682"/>
                      <a:pt x="710038" y="1"/>
                      <a:pt x="1585913" y="1"/>
                    </a:cubicBezTo>
                    <a:cubicBezTo>
                      <a:pt x="1585914" y="1"/>
                      <a:pt x="1585914" y="2"/>
                      <a:pt x="1585915" y="2"/>
                    </a:cubicBezTo>
                    <a:cubicBezTo>
                      <a:pt x="2461790" y="3"/>
                      <a:pt x="3171827" y="709684"/>
                      <a:pt x="3171827" y="1585121"/>
                    </a:cubicBezTo>
                    <a:cubicBezTo>
                      <a:pt x="3171827" y="1585121"/>
                      <a:pt x="3171826" y="1585122"/>
                      <a:pt x="3171826" y="1585123"/>
                    </a:cubicBezTo>
                    <a:lnTo>
                      <a:pt x="3171827" y="1585124"/>
                    </a:lnTo>
                    <a:cubicBezTo>
                      <a:pt x="3171827" y="2460561"/>
                      <a:pt x="2461789" y="3170243"/>
                      <a:pt x="1585914" y="3170243"/>
                    </a:cubicBezTo>
                    <a:cubicBezTo>
                      <a:pt x="1585913" y="3170242"/>
                      <a:pt x="1585913" y="3170242"/>
                      <a:pt x="1585913" y="3170242"/>
                    </a:cubicBezTo>
                    <a:cubicBezTo>
                      <a:pt x="710037" y="3170242"/>
                      <a:pt x="1" y="2460560"/>
                      <a:pt x="1" y="1585124"/>
                    </a:cubicBezTo>
                    <a:cubicBezTo>
                      <a:pt x="1" y="1585123"/>
                      <a:pt x="1" y="1585122"/>
                      <a:pt x="1" y="1585122"/>
                    </a:cubicBezTo>
                    <a:close/>
                    <a:moveTo>
                      <a:pt x="529810" y="1585119"/>
                    </a:moveTo>
                    <a:lnTo>
                      <a:pt x="529810" y="1585119"/>
                    </a:lnTo>
                    <a:cubicBezTo>
                      <a:pt x="529810" y="1585119"/>
                      <a:pt x="529809" y="1585119"/>
                      <a:pt x="529809" y="1585119"/>
                    </a:cubicBezTo>
                    <a:cubicBezTo>
                      <a:pt x="529809" y="2167950"/>
                      <a:pt x="1002642" y="2640428"/>
                      <a:pt x="1585910" y="2640428"/>
                    </a:cubicBezTo>
                    <a:lnTo>
                      <a:pt x="1585911" y="2640428"/>
                    </a:lnTo>
                    <a:cubicBezTo>
                      <a:pt x="1585911" y="2640428"/>
                      <a:pt x="1585911" y="2640428"/>
                      <a:pt x="1585912" y="2640428"/>
                    </a:cubicBezTo>
                    <a:cubicBezTo>
                      <a:pt x="2169180" y="2640428"/>
                      <a:pt x="2642013" y="2167951"/>
                      <a:pt x="2642013" y="1585120"/>
                    </a:cubicBezTo>
                    <a:lnTo>
                      <a:pt x="2642014" y="1585121"/>
                    </a:lnTo>
                    <a:cubicBezTo>
                      <a:pt x="2642014" y="1002289"/>
                      <a:pt x="2169181" y="529812"/>
                      <a:pt x="1585912" y="529812"/>
                    </a:cubicBezTo>
                    <a:lnTo>
                      <a:pt x="1585911" y="529812"/>
                    </a:lnTo>
                    <a:cubicBezTo>
                      <a:pt x="1585911" y="529812"/>
                      <a:pt x="1585911" y="529811"/>
                      <a:pt x="1585911" y="529811"/>
                    </a:cubicBezTo>
                    <a:cubicBezTo>
                      <a:pt x="1002642" y="529811"/>
                      <a:pt x="529809" y="1002289"/>
                      <a:pt x="529809" y="1585120"/>
                    </a:cubicBezTo>
                    <a:close/>
                  </a:path>
                </a:pathLst>
              </a:custGeom>
              <a:gradFill rotWithShape="1">
                <a:gsLst>
                  <a:gs pos="0">
                    <a:srgbClr val="E6E6E6"/>
                  </a:gs>
                  <a:gs pos="100000">
                    <a:srgbClr val="FFFFFF"/>
                  </a:gs>
                </a:gsLst>
                <a:lin ang="16200000"/>
              </a:gradFill>
              <a:ln w="12700">
                <a:solidFill>
                  <a:srgbClr val="BFBFBF"/>
                </a:solidFill>
                <a:miter lim="800000"/>
                <a:headEnd/>
                <a:tailEnd/>
              </a:ln>
              <a:effectLst>
                <a:outerShdw blurRad="63500" dist="38100" dir="2700000" algn="tl" rotWithShape="0">
                  <a:srgbClr val="000000">
                    <a:alpha val="39999"/>
                  </a:srgbClr>
                </a:outerShdw>
              </a:effectLst>
            </p:spPr>
            <p:txBody>
              <a:bodyPr anchor="ctr"/>
              <a:lstStyle/>
              <a:p>
                <a:pPr algn="ctr">
                  <a:defRPr/>
                </a:pPr>
                <a:endParaRPr lang="en-US" sz="1015" dirty="0">
                  <a:solidFill>
                    <a:srgbClr val="FFFFFF"/>
                  </a:solidFill>
                  <a:latin typeface="Arial Narrow" charset="0"/>
                  <a:ea typeface="ＭＳ Ｐゴシック" pitchFamily="-112" charset="-128"/>
                </a:endParaRPr>
              </a:p>
            </p:txBody>
          </p:sp>
          <p:sp>
            <p:nvSpPr>
              <p:cNvPr id="52" name="Rektangulær billedforklaring 50"/>
              <p:cNvSpPr>
                <a:spLocks noChangeArrowheads="1"/>
              </p:cNvSpPr>
              <p:nvPr/>
            </p:nvSpPr>
            <p:spPr bwMode="auto">
              <a:xfrm>
                <a:off x="5100209" y="840078"/>
                <a:ext cx="1195418" cy="889288"/>
              </a:xfrm>
              <a:prstGeom prst="wedgeRectCallout">
                <a:avLst>
                  <a:gd name="adj1" fmla="val -29778"/>
                  <a:gd name="adj2" fmla="val 6880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7" name="Rektangel 51"/>
              <p:cNvSpPr>
                <a:spLocks noChangeArrowheads="1"/>
              </p:cNvSpPr>
              <p:nvPr/>
            </p:nvSpPr>
            <p:spPr bwMode="auto">
              <a:xfrm>
                <a:off x="5026328" y="911092"/>
                <a:ext cx="1206500"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Marzo ‘13</a:t>
                </a:r>
              </a:p>
              <a:p>
                <a:pPr algn="ctr" defTabSz="740038">
                  <a:spcBef>
                    <a:spcPct val="20000"/>
                  </a:spcBef>
                </a:pPr>
                <a:r>
                  <a:rPr lang="it-IT" sz="1292" b="1" noProof="1">
                    <a:solidFill>
                      <a:srgbClr val="00B0F0"/>
                    </a:solidFill>
                    <a:latin typeface="Calibri" pitchFamily="34" charset="0"/>
                    <a:cs typeface="Arial" charset="0"/>
                  </a:rPr>
                  <a:t>Analisi di contesto</a:t>
                </a:r>
              </a:p>
            </p:txBody>
          </p:sp>
          <p:sp>
            <p:nvSpPr>
              <p:cNvPr id="56" name="Rektangulær billedforklaring 52"/>
              <p:cNvSpPr>
                <a:spLocks noChangeArrowheads="1"/>
              </p:cNvSpPr>
              <p:nvPr/>
            </p:nvSpPr>
            <p:spPr bwMode="auto">
              <a:xfrm>
                <a:off x="6213029" y="1251012"/>
                <a:ext cx="1282522" cy="1081913"/>
              </a:xfrm>
              <a:prstGeom prst="wedgeRectCallout">
                <a:avLst>
                  <a:gd name="adj1" fmla="val -91509"/>
                  <a:gd name="adj2" fmla="val 4997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9" name="Rektangel 53"/>
              <p:cNvSpPr>
                <a:spLocks noChangeArrowheads="1"/>
              </p:cNvSpPr>
              <p:nvPr/>
            </p:nvSpPr>
            <p:spPr bwMode="auto">
              <a:xfrm>
                <a:off x="6271824" y="1292096"/>
                <a:ext cx="1359997" cy="1538644"/>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prile’13</a:t>
                </a:r>
              </a:p>
              <a:p>
                <a:pPr algn="ctr" defTabSz="740038">
                  <a:spcBef>
                    <a:spcPct val="20000"/>
                  </a:spcBef>
                </a:pPr>
                <a:r>
                  <a:rPr lang="it-IT" sz="1292" b="1" noProof="1">
                    <a:solidFill>
                      <a:srgbClr val="00B0F0"/>
                    </a:solidFill>
                    <a:latin typeface="Calibri" pitchFamily="34" charset="0"/>
                    <a:cs typeface="Arial" charset="0"/>
                  </a:rPr>
                  <a:t>Individuazione Principi guida  cambiamento</a:t>
                </a:r>
              </a:p>
              <a:p>
                <a:pPr defTabSz="740038">
                  <a:spcBef>
                    <a:spcPct val="20000"/>
                  </a:spcBef>
                </a:pPr>
                <a:endParaRPr lang="it-IT" sz="1292" b="1" noProof="1">
                  <a:solidFill>
                    <a:srgbClr val="080808"/>
                  </a:solidFill>
                  <a:latin typeface="Calibri" pitchFamily="34" charset="0"/>
                  <a:cs typeface="Arial" charset="0"/>
                </a:endParaRPr>
              </a:p>
              <a:p>
                <a:pPr defTabSz="740038">
                  <a:spcBef>
                    <a:spcPct val="20000"/>
                  </a:spcBef>
                </a:pPr>
                <a:endParaRPr lang="it-IT" sz="1292" b="1" noProof="1">
                  <a:solidFill>
                    <a:srgbClr val="080808"/>
                  </a:solidFill>
                  <a:latin typeface="Calibri" pitchFamily="34" charset="0"/>
                  <a:cs typeface="Arial" charset="0"/>
                </a:endParaRPr>
              </a:p>
            </p:txBody>
          </p:sp>
          <p:sp>
            <p:nvSpPr>
              <p:cNvPr id="58" name="Rektangulær billedforklaring 54"/>
              <p:cNvSpPr>
                <a:spLocks noChangeArrowheads="1"/>
              </p:cNvSpPr>
              <p:nvPr/>
            </p:nvSpPr>
            <p:spPr bwMode="auto">
              <a:xfrm>
                <a:off x="6340680" y="2392317"/>
                <a:ext cx="1353106" cy="958312"/>
              </a:xfrm>
              <a:prstGeom prst="wedgeRectCallout">
                <a:avLst>
                  <a:gd name="adj1" fmla="val -73676"/>
                  <a:gd name="adj2" fmla="val 1655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91" name="Rektangel 55"/>
              <p:cNvSpPr>
                <a:spLocks noChangeArrowheads="1"/>
              </p:cNvSpPr>
              <p:nvPr/>
            </p:nvSpPr>
            <p:spPr bwMode="auto">
              <a:xfrm>
                <a:off x="6430472" y="2464131"/>
                <a:ext cx="1173794"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iugno ‘13</a:t>
                </a:r>
              </a:p>
              <a:p>
                <a:pPr algn="ctr" defTabSz="740038">
                  <a:spcBef>
                    <a:spcPct val="20000"/>
                  </a:spcBef>
                </a:pPr>
                <a:r>
                  <a:rPr lang="en-US" sz="1292" b="1">
                    <a:solidFill>
                      <a:srgbClr val="00B0F0"/>
                    </a:solidFill>
                    <a:latin typeface="Calibri" pitchFamily="34" charset="0"/>
                    <a:cs typeface="Arial" charset="0"/>
                  </a:rPr>
                  <a:t>Peer Review a Faro</a:t>
                </a:r>
              </a:p>
            </p:txBody>
          </p:sp>
          <p:sp>
            <p:nvSpPr>
              <p:cNvPr id="60" name="Freeform 100"/>
              <p:cNvSpPr>
                <a:spLocks/>
              </p:cNvSpPr>
              <p:nvPr/>
            </p:nvSpPr>
            <p:spPr bwMode="auto">
              <a:xfrm>
                <a:off x="4615134" y="1899518"/>
                <a:ext cx="720855" cy="496010"/>
              </a:xfrm>
              <a:custGeom>
                <a:avLst/>
                <a:gdLst>
                  <a:gd name="T0" fmla="*/ 2147483647 w 454"/>
                  <a:gd name="T1" fmla="*/ 2147483647 h 312"/>
                  <a:gd name="T2" fmla="*/ 2147483647 w 454"/>
                  <a:gd name="T3" fmla="*/ 2147483647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0 h 312"/>
                  <a:gd name="T20" fmla="*/ 0 w 454"/>
                  <a:gd name="T21" fmla="*/ 2147483647 h 312"/>
                  <a:gd name="T22" fmla="*/ 0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2147483647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122"/>
                    </a:moveTo>
                    <a:lnTo>
                      <a:pt x="454" y="122"/>
                    </a:lnTo>
                    <a:lnTo>
                      <a:pt x="402" y="94"/>
                    </a:lnTo>
                    <a:lnTo>
                      <a:pt x="348" y="70"/>
                    </a:lnTo>
                    <a:lnTo>
                      <a:pt x="292" y="48"/>
                    </a:lnTo>
                    <a:lnTo>
                      <a:pt x="236" y="32"/>
                    </a:lnTo>
                    <a:lnTo>
                      <a:pt x="178" y="18"/>
                    </a:lnTo>
                    <a:lnTo>
                      <a:pt x="118" y="8"/>
                    </a:lnTo>
                    <a:lnTo>
                      <a:pt x="60" y="2"/>
                    </a:lnTo>
                    <a:lnTo>
                      <a:pt x="0" y="0"/>
                    </a:lnTo>
                    <a:lnTo>
                      <a:pt x="0" y="220"/>
                    </a:lnTo>
                    <a:lnTo>
                      <a:pt x="46" y="220"/>
                    </a:lnTo>
                    <a:lnTo>
                      <a:pt x="90" y="224"/>
                    </a:lnTo>
                    <a:lnTo>
                      <a:pt x="134" y="232"/>
                    </a:lnTo>
                    <a:lnTo>
                      <a:pt x="178" y="242"/>
                    </a:lnTo>
                    <a:lnTo>
                      <a:pt x="222" y="256"/>
                    </a:lnTo>
                    <a:lnTo>
                      <a:pt x="264" y="272"/>
                    </a:lnTo>
                    <a:lnTo>
                      <a:pt x="306" y="290"/>
                    </a:lnTo>
                    <a:lnTo>
                      <a:pt x="346" y="312"/>
                    </a:lnTo>
                    <a:lnTo>
                      <a:pt x="454" y="12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1" name="Freeform 101"/>
              <p:cNvSpPr>
                <a:spLocks/>
              </p:cNvSpPr>
              <p:nvPr/>
            </p:nvSpPr>
            <p:spPr bwMode="auto">
              <a:xfrm>
                <a:off x="5188814" y="2109800"/>
                <a:ext cx="701332" cy="701478"/>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0 h 442"/>
                  <a:gd name="T20" fmla="*/ 0 w 442"/>
                  <a:gd name="T21" fmla="*/ 2147483647 h 442"/>
                  <a:gd name="T22" fmla="*/ 0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442" y="332"/>
                    </a:moveTo>
                    <a:lnTo>
                      <a:pt x="442" y="332"/>
                    </a:lnTo>
                    <a:lnTo>
                      <a:pt x="412" y="282"/>
                    </a:lnTo>
                    <a:lnTo>
                      <a:pt x="376" y="232"/>
                    </a:lnTo>
                    <a:lnTo>
                      <a:pt x="338" y="186"/>
                    </a:lnTo>
                    <a:lnTo>
                      <a:pt x="298" y="144"/>
                    </a:lnTo>
                    <a:lnTo>
                      <a:pt x="254" y="104"/>
                    </a:lnTo>
                    <a:lnTo>
                      <a:pt x="208" y="66"/>
                    </a:lnTo>
                    <a:lnTo>
                      <a:pt x="160" y="30"/>
                    </a:lnTo>
                    <a:lnTo>
                      <a:pt x="110" y="0"/>
                    </a:lnTo>
                    <a:lnTo>
                      <a:pt x="0" y="188"/>
                    </a:lnTo>
                    <a:lnTo>
                      <a:pt x="40" y="212"/>
                    </a:lnTo>
                    <a:lnTo>
                      <a:pt x="76" y="238"/>
                    </a:lnTo>
                    <a:lnTo>
                      <a:pt x="110" y="268"/>
                    </a:lnTo>
                    <a:lnTo>
                      <a:pt x="144" y="298"/>
                    </a:lnTo>
                    <a:lnTo>
                      <a:pt x="174" y="330"/>
                    </a:lnTo>
                    <a:lnTo>
                      <a:pt x="204" y="366"/>
                    </a:lnTo>
                    <a:lnTo>
                      <a:pt x="230" y="402"/>
                    </a:lnTo>
                    <a:lnTo>
                      <a:pt x="254" y="442"/>
                    </a:lnTo>
                    <a:lnTo>
                      <a:pt x="442" y="33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923" dirty="0"/>
              </a:p>
            </p:txBody>
          </p:sp>
          <p:sp>
            <p:nvSpPr>
              <p:cNvPr id="62" name="Freeform 102"/>
              <p:cNvSpPr>
                <a:spLocks/>
              </p:cNvSpPr>
              <p:nvPr/>
            </p:nvSpPr>
            <p:spPr bwMode="auto">
              <a:xfrm>
                <a:off x="5604807" y="2665204"/>
                <a:ext cx="495588" cy="720741"/>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0 w 312"/>
                  <a:gd name="T21" fmla="*/ 2147483647 h 454"/>
                  <a:gd name="T22" fmla="*/ 0 w 312"/>
                  <a:gd name="T23" fmla="*/ 2147483647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2147483647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312" y="454"/>
                    </a:moveTo>
                    <a:lnTo>
                      <a:pt x="312" y="454"/>
                    </a:lnTo>
                    <a:lnTo>
                      <a:pt x="310" y="394"/>
                    </a:lnTo>
                    <a:lnTo>
                      <a:pt x="304" y="334"/>
                    </a:lnTo>
                    <a:lnTo>
                      <a:pt x="294" y="276"/>
                    </a:lnTo>
                    <a:lnTo>
                      <a:pt x="280" y="218"/>
                    </a:lnTo>
                    <a:lnTo>
                      <a:pt x="262" y="162"/>
                    </a:lnTo>
                    <a:lnTo>
                      <a:pt x="242" y="106"/>
                    </a:lnTo>
                    <a:lnTo>
                      <a:pt x="218" y="52"/>
                    </a:lnTo>
                    <a:lnTo>
                      <a:pt x="190" y="0"/>
                    </a:lnTo>
                    <a:lnTo>
                      <a:pt x="0" y="108"/>
                    </a:lnTo>
                    <a:lnTo>
                      <a:pt x="22" y="148"/>
                    </a:lnTo>
                    <a:lnTo>
                      <a:pt x="40" y="190"/>
                    </a:lnTo>
                    <a:lnTo>
                      <a:pt x="56" y="232"/>
                    </a:lnTo>
                    <a:lnTo>
                      <a:pt x="70" y="276"/>
                    </a:lnTo>
                    <a:lnTo>
                      <a:pt x="80" y="318"/>
                    </a:lnTo>
                    <a:lnTo>
                      <a:pt x="86" y="364"/>
                    </a:lnTo>
                    <a:lnTo>
                      <a:pt x="92" y="408"/>
                    </a:lnTo>
                    <a:lnTo>
                      <a:pt x="92" y="454"/>
                    </a:lnTo>
                    <a:lnTo>
                      <a:pt x="312"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3" name="Freeform 103"/>
              <p:cNvSpPr>
                <a:spLocks/>
              </p:cNvSpPr>
              <p:nvPr/>
            </p:nvSpPr>
            <p:spPr bwMode="auto">
              <a:xfrm>
                <a:off x="5606309" y="3414838"/>
                <a:ext cx="494086" cy="720740"/>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2147483647 w 312"/>
                  <a:gd name="T21" fmla="*/ 0 h 454"/>
                  <a:gd name="T22" fmla="*/ 2147483647 w 312"/>
                  <a:gd name="T23" fmla="*/ 0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0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190" y="454"/>
                    </a:moveTo>
                    <a:lnTo>
                      <a:pt x="190" y="454"/>
                    </a:lnTo>
                    <a:lnTo>
                      <a:pt x="218" y="402"/>
                    </a:lnTo>
                    <a:lnTo>
                      <a:pt x="242" y="346"/>
                    </a:lnTo>
                    <a:lnTo>
                      <a:pt x="262" y="292"/>
                    </a:lnTo>
                    <a:lnTo>
                      <a:pt x="280" y="234"/>
                    </a:lnTo>
                    <a:lnTo>
                      <a:pt x="294" y="176"/>
                    </a:lnTo>
                    <a:lnTo>
                      <a:pt x="304" y="118"/>
                    </a:lnTo>
                    <a:lnTo>
                      <a:pt x="310" y="58"/>
                    </a:lnTo>
                    <a:lnTo>
                      <a:pt x="312" y="0"/>
                    </a:lnTo>
                    <a:lnTo>
                      <a:pt x="92" y="0"/>
                    </a:lnTo>
                    <a:lnTo>
                      <a:pt x="92" y="44"/>
                    </a:lnTo>
                    <a:lnTo>
                      <a:pt x="86" y="90"/>
                    </a:lnTo>
                    <a:lnTo>
                      <a:pt x="80" y="134"/>
                    </a:lnTo>
                    <a:lnTo>
                      <a:pt x="70" y="178"/>
                    </a:lnTo>
                    <a:lnTo>
                      <a:pt x="56" y="222"/>
                    </a:lnTo>
                    <a:lnTo>
                      <a:pt x="40" y="264"/>
                    </a:lnTo>
                    <a:lnTo>
                      <a:pt x="22" y="304"/>
                    </a:lnTo>
                    <a:lnTo>
                      <a:pt x="0" y="344"/>
                    </a:lnTo>
                    <a:lnTo>
                      <a:pt x="190"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4" name="Freeform 104"/>
              <p:cNvSpPr>
                <a:spLocks/>
              </p:cNvSpPr>
              <p:nvPr/>
            </p:nvSpPr>
            <p:spPr bwMode="auto">
              <a:xfrm>
                <a:off x="5190315" y="3991109"/>
                <a:ext cx="699830" cy="699873"/>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0 h 442"/>
                  <a:gd name="T22" fmla="*/ 2147483647 w 442"/>
                  <a:gd name="T23" fmla="*/ 0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0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110" y="442"/>
                    </a:moveTo>
                    <a:lnTo>
                      <a:pt x="110" y="442"/>
                    </a:lnTo>
                    <a:lnTo>
                      <a:pt x="160" y="410"/>
                    </a:lnTo>
                    <a:lnTo>
                      <a:pt x="208" y="376"/>
                    </a:lnTo>
                    <a:lnTo>
                      <a:pt x="254" y="338"/>
                    </a:lnTo>
                    <a:lnTo>
                      <a:pt x="298" y="298"/>
                    </a:lnTo>
                    <a:lnTo>
                      <a:pt x="338" y="254"/>
                    </a:lnTo>
                    <a:lnTo>
                      <a:pt x="376" y="208"/>
                    </a:lnTo>
                    <a:lnTo>
                      <a:pt x="412" y="160"/>
                    </a:lnTo>
                    <a:lnTo>
                      <a:pt x="442" y="108"/>
                    </a:lnTo>
                    <a:lnTo>
                      <a:pt x="254" y="0"/>
                    </a:lnTo>
                    <a:lnTo>
                      <a:pt x="230" y="38"/>
                    </a:lnTo>
                    <a:lnTo>
                      <a:pt x="204" y="76"/>
                    </a:lnTo>
                    <a:lnTo>
                      <a:pt x="174" y="110"/>
                    </a:lnTo>
                    <a:lnTo>
                      <a:pt x="144" y="144"/>
                    </a:lnTo>
                    <a:lnTo>
                      <a:pt x="110" y="174"/>
                    </a:lnTo>
                    <a:lnTo>
                      <a:pt x="76" y="202"/>
                    </a:lnTo>
                    <a:lnTo>
                      <a:pt x="40" y="228"/>
                    </a:lnTo>
                    <a:lnTo>
                      <a:pt x="0" y="252"/>
                    </a:lnTo>
                    <a:lnTo>
                      <a:pt x="110" y="44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5" name="Freeform 105"/>
              <p:cNvSpPr>
                <a:spLocks/>
              </p:cNvSpPr>
              <p:nvPr/>
            </p:nvSpPr>
            <p:spPr bwMode="auto">
              <a:xfrm>
                <a:off x="461513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0 h 310"/>
                  <a:gd name="T22" fmla="*/ 2147483647 w 454"/>
                  <a:gd name="T23" fmla="*/ 0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0 w 454"/>
                  <a:gd name="T39" fmla="*/ 2147483647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310"/>
                    </a:moveTo>
                    <a:lnTo>
                      <a:pt x="0" y="310"/>
                    </a:lnTo>
                    <a:lnTo>
                      <a:pt x="60" y="308"/>
                    </a:lnTo>
                    <a:lnTo>
                      <a:pt x="118" y="302"/>
                    </a:lnTo>
                    <a:lnTo>
                      <a:pt x="178" y="292"/>
                    </a:lnTo>
                    <a:lnTo>
                      <a:pt x="236" y="280"/>
                    </a:lnTo>
                    <a:lnTo>
                      <a:pt x="292" y="262"/>
                    </a:lnTo>
                    <a:lnTo>
                      <a:pt x="348" y="242"/>
                    </a:lnTo>
                    <a:lnTo>
                      <a:pt x="402" y="216"/>
                    </a:lnTo>
                    <a:lnTo>
                      <a:pt x="454" y="188"/>
                    </a:lnTo>
                    <a:lnTo>
                      <a:pt x="346" y="0"/>
                    </a:lnTo>
                    <a:lnTo>
                      <a:pt x="306" y="20"/>
                    </a:lnTo>
                    <a:lnTo>
                      <a:pt x="264" y="40"/>
                    </a:lnTo>
                    <a:lnTo>
                      <a:pt x="222" y="56"/>
                    </a:lnTo>
                    <a:lnTo>
                      <a:pt x="178" y="68"/>
                    </a:lnTo>
                    <a:lnTo>
                      <a:pt x="134" y="78"/>
                    </a:lnTo>
                    <a:lnTo>
                      <a:pt x="90" y="86"/>
                    </a:lnTo>
                    <a:lnTo>
                      <a:pt x="46" y="90"/>
                    </a:lnTo>
                    <a:lnTo>
                      <a:pt x="0" y="92"/>
                    </a:lnTo>
                    <a:lnTo>
                      <a:pt x="0" y="310"/>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6" name="Freeform 106"/>
              <p:cNvSpPr>
                <a:spLocks/>
              </p:cNvSpPr>
              <p:nvPr/>
            </p:nvSpPr>
            <p:spPr bwMode="auto">
              <a:xfrm>
                <a:off x="386574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2147483647 h 310"/>
                  <a:gd name="T22" fmla="*/ 2147483647 w 454"/>
                  <a:gd name="T23" fmla="*/ 2147483647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2147483647 w 454"/>
                  <a:gd name="T39" fmla="*/ 0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188"/>
                    </a:moveTo>
                    <a:lnTo>
                      <a:pt x="0" y="188"/>
                    </a:lnTo>
                    <a:lnTo>
                      <a:pt x="52" y="216"/>
                    </a:lnTo>
                    <a:lnTo>
                      <a:pt x="106" y="242"/>
                    </a:lnTo>
                    <a:lnTo>
                      <a:pt x="162" y="262"/>
                    </a:lnTo>
                    <a:lnTo>
                      <a:pt x="220" y="280"/>
                    </a:lnTo>
                    <a:lnTo>
                      <a:pt x="278" y="292"/>
                    </a:lnTo>
                    <a:lnTo>
                      <a:pt x="336" y="302"/>
                    </a:lnTo>
                    <a:lnTo>
                      <a:pt x="394" y="308"/>
                    </a:lnTo>
                    <a:lnTo>
                      <a:pt x="454" y="310"/>
                    </a:lnTo>
                    <a:lnTo>
                      <a:pt x="454" y="92"/>
                    </a:lnTo>
                    <a:lnTo>
                      <a:pt x="410" y="90"/>
                    </a:lnTo>
                    <a:lnTo>
                      <a:pt x="364" y="86"/>
                    </a:lnTo>
                    <a:lnTo>
                      <a:pt x="320" y="78"/>
                    </a:lnTo>
                    <a:lnTo>
                      <a:pt x="276" y="68"/>
                    </a:lnTo>
                    <a:lnTo>
                      <a:pt x="232" y="56"/>
                    </a:lnTo>
                    <a:lnTo>
                      <a:pt x="190" y="40"/>
                    </a:lnTo>
                    <a:lnTo>
                      <a:pt x="150" y="20"/>
                    </a:lnTo>
                    <a:lnTo>
                      <a:pt x="110" y="0"/>
                    </a:lnTo>
                    <a:lnTo>
                      <a:pt x="0" y="18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7" name="Freeform 107"/>
              <p:cNvSpPr>
                <a:spLocks/>
              </p:cNvSpPr>
              <p:nvPr/>
            </p:nvSpPr>
            <p:spPr bwMode="auto">
              <a:xfrm>
                <a:off x="3310085" y="3991109"/>
                <a:ext cx="701333" cy="699873"/>
              </a:xfrm>
              <a:custGeom>
                <a:avLst/>
                <a:gdLst>
                  <a:gd name="T0" fmla="*/ 0 w 442"/>
                  <a:gd name="T1" fmla="*/ 2147483647 h 442"/>
                  <a:gd name="T2" fmla="*/ 0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0 h 442"/>
                  <a:gd name="T40" fmla="*/ 0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0" y="108"/>
                    </a:moveTo>
                    <a:lnTo>
                      <a:pt x="0" y="108"/>
                    </a:lnTo>
                    <a:lnTo>
                      <a:pt x="32" y="160"/>
                    </a:lnTo>
                    <a:lnTo>
                      <a:pt x="66" y="208"/>
                    </a:lnTo>
                    <a:lnTo>
                      <a:pt x="104" y="254"/>
                    </a:lnTo>
                    <a:lnTo>
                      <a:pt x="144" y="298"/>
                    </a:lnTo>
                    <a:lnTo>
                      <a:pt x="188" y="338"/>
                    </a:lnTo>
                    <a:lnTo>
                      <a:pt x="234" y="376"/>
                    </a:lnTo>
                    <a:lnTo>
                      <a:pt x="282" y="410"/>
                    </a:lnTo>
                    <a:lnTo>
                      <a:pt x="332" y="442"/>
                    </a:lnTo>
                    <a:lnTo>
                      <a:pt x="442" y="252"/>
                    </a:lnTo>
                    <a:lnTo>
                      <a:pt x="404" y="228"/>
                    </a:lnTo>
                    <a:lnTo>
                      <a:pt x="366" y="202"/>
                    </a:lnTo>
                    <a:lnTo>
                      <a:pt x="332" y="174"/>
                    </a:lnTo>
                    <a:lnTo>
                      <a:pt x="298" y="144"/>
                    </a:lnTo>
                    <a:lnTo>
                      <a:pt x="268" y="110"/>
                    </a:lnTo>
                    <a:lnTo>
                      <a:pt x="240" y="76"/>
                    </a:lnTo>
                    <a:lnTo>
                      <a:pt x="212" y="38"/>
                    </a:lnTo>
                    <a:lnTo>
                      <a:pt x="190" y="0"/>
                    </a:lnTo>
                    <a:lnTo>
                      <a:pt x="0" y="10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8" name="Freeform 108"/>
              <p:cNvSpPr>
                <a:spLocks/>
              </p:cNvSpPr>
              <p:nvPr/>
            </p:nvSpPr>
            <p:spPr bwMode="auto">
              <a:xfrm>
                <a:off x="3104341" y="3414838"/>
                <a:ext cx="491082" cy="720740"/>
              </a:xfrm>
              <a:custGeom>
                <a:avLst/>
                <a:gdLst>
                  <a:gd name="T0" fmla="*/ 0 w 310"/>
                  <a:gd name="T1" fmla="*/ 0 h 454"/>
                  <a:gd name="T2" fmla="*/ 0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2147483647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0 h 454"/>
                  <a:gd name="T40" fmla="*/ 0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0" y="0"/>
                    </a:moveTo>
                    <a:lnTo>
                      <a:pt x="0" y="0"/>
                    </a:lnTo>
                    <a:lnTo>
                      <a:pt x="2" y="58"/>
                    </a:lnTo>
                    <a:lnTo>
                      <a:pt x="8" y="118"/>
                    </a:lnTo>
                    <a:lnTo>
                      <a:pt x="16" y="176"/>
                    </a:lnTo>
                    <a:lnTo>
                      <a:pt x="30" y="234"/>
                    </a:lnTo>
                    <a:lnTo>
                      <a:pt x="48" y="292"/>
                    </a:lnTo>
                    <a:lnTo>
                      <a:pt x="68" y="346"/>
                    </a:lnTo>
                    <a:lnTo>
                      <a:pt x="94" y="402"/>
                    </a:lnTo>
                    <a:lnTo>
                      <a:pt x="122" y="454"/>
                    </a:lnTo>
                    <a:lnTo>
                      <a:pt x="310" y="344"/>
                    </a:lnTo>
                    <a:lnTo>
                      <a:pt x="290" y="304"/>
                    </a:lnTo>
                    <a:lnTo>
                      <a:pt x="270" y="264"/>
                    </a:lnTo>
                    <a:lnTo>
                      <a:pt x="254" y="222"/>
                    </a:lnTo>
                    <a:lnTo>
                      <a:pt x="242" y="178"/>
                    </a:lnTo>
                    <a:lnTo>
                      <a:pt x="232" y="134"/>
                    </a:lnTo>
                    <a:lnTo>
                      <a:pt x="224" y="90"/>
                    </a:lnTo>
                    <a:lnTo>
                      <a:pt x="220" y="44"/>
                    </a:lnTo>
                    <a:lnTo>
                      <a:pt x="218" y="0"/>
                    </a:lnTo>
                    <a:lnTo>
                      <a:pt x="0"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9" name="Freeform 109"/>
              <p:cNvSpPr>
                <a:spLocks/>
              </p:cNvSpPr>
              <p:nvPr/>
            </p:nvSpPr>
            <p:spPr bwMode="auto">
              <a:xfrm>
                <a:off x="3104341" y="2665204"/>
                <a:ext cx="491082" cy="720741"/>
              </a:xfrm>
              <a:custGeom>
                <a:avLst/>
                <a:gdLst>
                  <a:gd name="T0" fmla="*/ 2147483647 w 310"/>
                  <a:gd name="T1" fmla="*/ 0 h 454"/>
                  <a:gd name="T2" fmla="*/ 2147483647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0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2147483647 h 454"/>
                  <a:gd name="T40" fmla="*/ 2147483647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122" y="0"/>
                    </a:moveTo>
                    <a:lnTo>
                      <a:pt x="122" y="0"/>
                    </a:lnTo>
                    <a:lnTo>
                      <a:pt x="94" y="52"/>
                    </a:lnTo>
                    <a:lnTo>
                      <a:pt x="68" y="106"/>
                    </a:lnTo>
                    <a:lnTo>
                      <a:pt x="48" y="162"/>
                    </a:lnTo>
                    <a:lnTo>
                      <a:pt x="30" y="218"/>
                    </a:lnTo>
                    <a:lnTo>
                      <a:pt x="16" y="276"/>
                    </a:lnTo>
                    <a:lnTo>
                      <a:pt x="8" y="334"/>
                    </a:lnTo>
                    <a:lnTo>
                      <a:pt x="2" y="394"/>
                    </a:lnTo>
                    <a:lnTo>
                      <a:pt x="0" y="454"/>
                    </a:lnTo>
                    <a:lnTo>
                      <a:pt x="218" y="454"/>
                    </a:lnTo>
                    <a:lnTo>
                      <a:pt x="220" y="408"/>
                    </a:lnTo>
                    <a:lnTo>
                      <a:pt x="224" y="364"/>
                    </a:lnTo>
                    <a:lnTo>
                      <a:pt x="232" y="318"/>
                    </a:lnTo>
                    <a:lnTo>
                      <a:pt x="242" y="276"/>
                    </a:lnTo>
                    <a:lnTo>
                      <a:pt x="254" y="232"/>
                    </a:lnTo>
                    <a:lnTo>
                      <a:pt x="270" y="190"/>
                    </a:lnTo>
                    <a:lnTo>
                      <a:pt x="290" y="148"/>
                    </a:lnTo>
                    <a:lnTo>
                      <a:pt x="310" y="108"/>
                    </a:lnTo>
                    <a:lnTo>
                      <a:pt x="12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0" name="Freeform 110"/>
              <p:cNvSpPr>
                <a:spLocks/>
              </p:cNvSpPr>
              <p:nvPr/>
            </p:nvSpPr>
            <p:spPr bwMode="auto">
              <a:xfrm>
                <a:off x="3310085" y="2109800"/>
                <a:ext cx="701333" cy="701478"/>
              </a:xfrm>
              <a:custGeom>
                <a:avLst/>
                <a:gdLst>
                  <a:gd name="T0" fmla="*/ 2147483647 w 442"/>
                  <a:gd name="T1" fmla="*/ 0 h 442"/>
                  <a:gd name="T2" fmla="*/ 2147483647 w 442"/>
                  <a:gd name="T3" fmla="*/ 0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0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0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332" y="0"/>
                    </a:moveTo>
                    <a:lnTo>
                      <a:pt x="332" y="0"/>
                    </a:lnTo>
                    <a:lnTo>
                      <a:pt x="282" y="30"/>
                    </a:lnTo>
                    <a:lnTo>
                      <a:pt x="234" y="66"/>
                    </a:lnTo>
                    <a:lnTo>
                      <a:pt x="188" y="104"/>
                    </a:lnTo>
                    <a:lnTo>
                      <a:pt x="144" y="144"/>
                    </a:lnTo>
                    <a:lnTo>
                      <a:pt x="104" y="186"/>
                    </a:lnTo>
                    <a:lnTo>
                      <a:pt x="66" y="232"/>
                    </a:lnTo>
                    <a:lnTo>
                      <a:pt x="32" y="282"/>
                    </a:lnTo>
                    <a:lnTo>
                      <a:pt x="0" y="332"/>
                    </a:lnTo>
                    <a:lnTo>
                      <a:pt x="190" y="442"/>
                    </a:lnTo>
                    <a:lnTo>
                      <a:pt x="212" y="402"/>
                    </a:lnTo>
                    <a:lnTo>
                      <a:pt x="240" y="366"/>
                    </a:lnTo>
                    <a:lnTo>
                      <a:pt x="268" y="330"/>
                    </a:lnTo>
                    <a:lnTo>
                      <a:pt x="298" y="298"/>
                    </a:lnTo>
                    <a:lnTo>
                      <a:pt x="332" y="268"/>
                    </a:lnTo>
                    <a:lnTo>
                      <a:pt x="366" y="238"/>
                    </a:lnTo>
                    <a:lnTo>
                      <a:pt x="404" y="212"/>
                    </a:lnTo>
                    <a:lnTo>
                      <a:pt x="442" y="188"/>
                    </a:lnTo>
                    <a:lnTo>
                      <a:pt x="33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2" name="Freeform 111"/>
              <p:cNvSpPr>
                <a:spLocks/>
              </p:cNvSpPr>
              <p:nvPr/>
            </p:nvSpPr>
            <p:spPr bwMode="auto">
              <a:xfrm>
                <a:off x="3865744" y="1899518"/>
                <a:ext cx="720855" cy="496010"/>
              </a:xfrm>
              <a:custGeom>
                <a:avLst/>
                <a:gdLst>
                  <a:gd name="T0" fmla="*/ 2147483647 w 454"/>
                  <a:gd name="T1" fmla="*/ 0 h 312"/>
                  <a:gd name="T2" fmla="*/ 2147483647 w 454"/>
                  <a:gd name="T3" fmla="*/ 0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2147483647 h 312"/>
                  <a:gd name="T20" fmla="*/ 2147483647 w 454"/>
                  <a:gd name="T21" fmla="*/ 2147483647 h 312"/>
                  <a:gd name="T22" fmla="*/ 2147483647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0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0"/>
                    </a:moveTo>
                    <a:lnTo>
                      <a:pt x="454" y="0"/>
                    </a:lnTo>
                    <a:lnTo>
                      <a:pt x="394" y="2"/>
                    </a:lnTo>
                    <a:lnTo>
                      <a:pt x="336" y="8"/>
                    </a:lnTo>
                    <a:lnTo>
                      <a:pt x="278" y="18"/>
                    </a:lnTo>
                    <a:lnTo>
                      <a:pt x="220" y="32"/>
                    </a:lnTo>
                    <a:lnTo>
                      <a:pt x="162" y="48"/>
                    </a:lnTo>
                    <a:lnTo>
                      <a:pt x="106" y="70"/>
                    </a:lnTo>
                    <a:lnTo>
                      <a:pt x="52" y="94"/>
                    </a:lnTo>
                    <a:lnTo>
                      <a:pt x="0" y="122"/>
                    </a:lnTo>
                    <a:lnTo>
                      <a:pt x="110" y="312"/>
                    </a:lnTo>
                    <a:lnTo>
                      <a:pt x="150" y="290"/>
                    </a:lnTo>
                    <a:lnTo>
                      <a:pt x="190" y="272"/>
                    </a:lnTo>
                    <a:lnTo>
                      <a:pt x="232" y="256"/>
                    </a:lnTo>
                    <a:lnTo>
                      <a:pt x="276" y="242"/>
                    </a:lnTo>
                    <a:lnTo>
                      <a:pt x="320" y="232"/>
                    </a:lnTo>
                    <a:lnTo>
                      <a:pt x="364" y="224"/>
                    </a:lnTo>
                    <a:lnTo>
                      <a:pt x="410" y="220"/>
                    </a:lnTo>
                    <a:lnTo>
                      <a:pt x="454" y="220"/>
                    </a:lnTo>
                    <a:lnTo>
                      <a:pt x="454"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4" name="Rektangulær billedforklaring 70"/>
              <p:cNvSpPr>
                <a:spLocks noChangeArrowheads="1"/>
              </p:cNvSpPr>
              <p:nvPr/>
            </p:nvSpPr>
            <p:spPr bwMode="auto">
              <a:xfrm>
                <a:off x="6280609" y="3413233"/>
                <a:ext cx="1413177" cy="956707"/>
              </a:xfrm>
              <a:prstGeom prst="wedgeRectCallout">
                <a:avLst>
                  <a:gd name="adj1" fmla="val -72403"/>
                  <a:gd name="adj2" fmla="val -29648"/>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05" name="Rektangel 71"/>
              <p:cNvSpPr>
                <a:spLocks noChangeArrowheads="1"/>
              </p:cNvSpPr>
              <p:nvPr/>
            </p:nvSpPr>
            <p:spPr bwMode="auto">
              <a:xfrm>
                <a:off x="6253557" y="3404959"/>
                <a:ext cx="1440229" cy="84166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Luglio ‘13</a:t>
                </a:r>
              </a:p>
              <a:p>
                <a:pPr algn="ctr" defTabSz="740038">
                  <a:spcBef>
                    <a:spcPct val="20000"/>
                  </a:spcBef>
                </a:pPr>
                <a:r>
                  <a:rPr lang="it-IT" sz="1292" b="1" noProof="1">
                    <a:solidFill>
                      <a:srgbClr val="FF0000"/>
                    </a:solidFill>
                    <a:latin typeface="Calibri" pitchFamily="34" charset="0"/>
                    <a:cs typeface="Arial" charset="0"/>
                  </a:rPr>
                  <a:t>Invio Progres n. 1.</a:t>
                </a:r>
              </a:p>
              <a:p>
                <a:pPr algn="ctr" defTabSz="740038">
                  <a:spcBef>
                    <a:spcPct val="20000"/>
                  </a:spcBef>
                </a:pPr>
                <a:r>
                  <a:rPr lang="it-IT" sz="1292" b="1" noProof="1">
                    <a:solidFill>
                      <a:srgbClr val="00B0F0"/>
                    </a:solidFill>
                    <a:latin typeface="Calibri" pitchFamily="34" charset="0"/>
                    <a:cs typeface="Arial" charset="0"/>
                  </a:rPr>
                  <a:t>Tavolo </a:t>
                </a:r>
                <a:r>
                  <a:rPr lang="it-IT" sz="1108" b="1" noProof="1">
                    <a:solidFill>
                      <a:srgbClr val="00B0F0"/>
                    </a:solidFill>
                    <a:latin typeface="Calibri" pitchFamily="34" charset="0"/>
                    <a:cs typeface="Arial" charset="0"/>
                  </a:rPr>
                  <a:t>MISE-MIUR</a:t>
                </a:r>
              </a:p>
            </p:txBody>
          </p:sp>
          <p:sp>
            <p:nvSpPr>
              <p:cNvPr id="78" name="Rektangulær billedforklaring 72"/>
              <p:cNvSpPr>
                <a:spLocks noChangeArrowheads="1"/>
              </p:cNvSpPr>
              <p:nvPr/>
            </p:nvSpPr>
            <p:spPr bwMode="auto">
              <a:xfrm>
                <a:off x="5807548" y="4434148"/>
                <a:ext cx="1688003" cy="942260"/>
              </a:xfrm>
              <a:prstGeom prst="wedgeRectCallout">
                <a:avLst>
                  <a:gd name="adj1" fmla="val -66037"/>
                  <a:gd name="adj2" fmla="val -55139"/>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0" name="Rektangulær billedforklaring 74"/>
              <p:cNvSpPr>
                <a:spLocks noChangeArrowheads="1"/>
              </p:cNvSpPr>
              <p:nvPr/>
            </p:nvSpPr>
            <p:spPr bwMode="auto">
              <a:xfrm>
                <a:off x="4511510" y="5105127"/>
                <a:ext cx="1305049" cy="1080308"/>
              </a:xfrm>
              <a:prstGeom prst="wedgeRectCallout">
                <a:avLst>
                  <a:gd name="adj1" fmla="val 2745"/>
                  <a:gd name="adj2" fmla="val -8222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2" name="Rektangulær billedforklaring 76"/>
              <p:cNvSpPr>
                <a:spLocks noChangeArrowheads="1"/>
              </p:cNvSpPr>
              <p:nvPr/>
            </p:nvSpPr>
            <p:spPr bwMode="auto">
              <a:xfrm>
                <a:off x="3245509" y="5105127"/>
                <a:ext cx="1196920" cy="1080308"/>
              </a:xfrm>
              <a:prstGeom prst="wedgeRectCallout">
                <a:avLst>
                  <a:gd name="adj1" fmla="val 32042"/>
                  <a:gd name="adj2" fmla="val -8541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4" name="Rektangulær billedforklaring 78"/>
              <p:cNvSpPr>
                <a:spLocks noChangeArrowheads="1"/>
              </p:cNvSpPr>
              <p:nvPr/>
            </p:nvSpPr>
            <p:spPr bwMode="auto">
              <a:xfrm>
                <a:off x="1997528" y="4421306"/>
                <a:ext cx="1195418" cy="1088334"/>
              </a:xfrm>
              <a:prstGeom prst="wedgeRectCallout">
                <a:avLst>
                  <a:gd name="adj1" fmla="val 80440"/>
                  <a:gd name="adj2" fmla="val -51954"/>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6" name="Rektangulær billedforklaring 80"/>
              <p:cNvSpPr>
                <a:spLocks noChangeArrowheads="1"/>
              </p:cNvSpPr>
              <p:nvPr/>
            </p:nvSpPr>
            <p:spPr bwMode="auto">
              <a:xfrm>
                <a:off x="1662631" y="3429285"/>
                <a:ext cx="1196920" cy="956707"/>
              </a:xfrm>
              <a:prstGeom prst="wedgeRectCallout">
                <a:avLst>
                  <a:gd name="adj1" fmla="val 72801"/>
                  <a:gd name="adj2" fmla="val -36023"/>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8" name="Rektangulær billedforklaring 82"/>
              <p:cNvSpPr>
                <a:spLocks noChangeArrowheads="1"/>
              </p:cNvSpPr>
              <p:nvPr/>
            </p:nvSpPr>
            <p:spPr bwMode="auto">
              <a:xfrm>
                <a:off x="1616075" y="2392317"/>
                <a:ext cx="1196920" cy="958312"/>
              </a:xfrm>
              <a:prstGeom prst="wedgeRectCallout">
                <a:avLst>
                  <a:gd name="adj1" fmla="val 82991"/>
                  <a:gd name="adj2" fmla="val -12125"/>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9" name="Rektangulær billedforklaring 84"/>
              <p:cNvSpPr>
                <a:spLocks noChangeArrowheads="1"/>
              </p:cNvSpPr>
              <p:nvPr/>
            </p:nvSpPr>
            <p:spPr bwMode="auto">
              <a:xfrm>
                <a:off x="1999030" y="1251012"/>
                <a:ext cx="1195418" cy="956707"/>
              </a:xfrm>
              <a:prstGeom prst="wedgeRectCallout">
                <a:avLst>
                  <a:gd name="adj1" fmla="val 74074"/>
                  <a:gd name="adj2" fmla="val 40449"/>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3" name="Rektangel 83"/>
              <p:cNvSpPr>
                <a:spLocks noChangeArrowheads="1"/>
              </p:cNvSpPr>
              <p:nvPr/>
            </p:nvSpPr>
            <p:spPr bwMode="auto">
              <a:xfrm>
                <a:off x="1676268" y="3385243"/>
                <a:ext cx="1206500"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Dicembre ‘13</a:t>
                </a:r>
              </a:p>
              <a:p>
                <a:pPr algn="ctr" defTabSz="740038">
                  <a:spcBef>
                    <a:spcPct val="20000"/>
                  </a:spcBef>
                </a:pPr>
                <a:r>
                  <a:rPr lang="it-IT" sz="1292" b="1" noProof="1">
                    <a:solidFill>
                      <a:schemeClr val="accent1"/>
                    </a:solidFill>
                    <a:latin typeface="Calibri" pitchFamily="34" charset="0"/>
                    <a:cs typeface="Arial" charset="0"/>
                  </a:rPr>
                  <a:t>Mappatura laboratori e attrezzature</a:t>
                </a:r>
              </a:p>
            </p:txBody>
          </p:sp>
          <p:sp>
            <p:nvSpPr>
              <p:cNvPr id="32814" name="Rektangel 85"/>
              <p:cNvSpPr>
                <a:spLocks noChangeArrowheads="1"/>
              </p:cNvSpPr>
              <p:nvPr/>
            </p:nvSpPr>
            <p:spPr bwMode="auto">
              <a:xfrm>
                <a:off x="2015717" y="4391441"/>
                <a:ext cx="1286898" cy="1451548"/>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Partecipazione a Tavoli </a:t>
                </a:r>
                <a:r>
                  <a:rPr lang="it-IT" sz="1108" b="1" noProof="1">
                    <a:solidFill>
                      <a:schemeClr val="accent1"/>
                    </a:solidFill>
                    <a:latin typeface="Calibri" pitchFamily="34" charset="0"/>
                    <a:cs typeface="Arial" charset="0"/>
                  </a:rPr>
                  <a:t>MISE-MIUR</a:t>
                </a:r>
                <a:r>
                  <a:rPr lang="it-IT" sz="1292" b="1" noProof="1">
                    <a:solidFill>
                      <a:schemeClr val="accent1"/>
                    </a:solidFill>
                    <a:latin typeface="Calibri" pitchFamily="34" charset="0"/>
                    <a:cs typeface="Arial" charset="0"/>
                  </a:rPr>
                  <a:t>. Test pilota sugli indicatori</a:t>
                </a:r>
              </a:p>
            </p:txBody>
          </p:sp>
          <p:sp>
            <p:nvSpPr>
              <p:cNvPr id="92" name="Rektangulær billedforklaring 86"/>
              <p:cNvSpPr>
                <a:spLocks noChangeArrowheads="1"/>
              </p:cNvSpPr>
              <p:nvPr/>
            </p:nvSpPr>
            <p:spPr bwMode="auto">
              <a:xfrm>
                <a:off x="3230491" y="669925"/>
                <a:ext cx="1488265" cy="956707"/>
              </a:xfrm>
              <a:prstGeom prst="wedgeRectCallout">
                <a:avLst>
                  <a:gd name="adj1" fmla="val 25671"/>
                  <a:gd name="adj2" fmla="val 8028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6" name="Rektangel 87"/>
              <p:cNvSpPr>
                <a:spLocks noChangeArrowheads="1"/>
              </p:cNvSpPr>
              <p:nvPr/>
            </p:nvSpPr>
            <p:spPr bwMode="auto">
              <a:xfrm>
                <a:off x="1662515" y="2390652"/>
                <a:ext cx="1287441"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Aggiornamento analisi di contesto</a:t>
                </a:r>
              </a:p>
            </p:txBody>
          </p:sp>
        </p:grpSp>
      </p:grpSp>
      <p:sp>
        <p:nvSpPr>
          <p:cNvPr id="32771" name="Rektangel 71"/>
          <p:cNvSpPr>
            <a:spLocks noChangeArrowheads="1"/>
          </p:cNvSpPr>
          <p:nvPr/>
        </p:nvSpPr>
        <p:spPr bwMode="auto">
          <a:xfrm>
            <a:off x="6759820" y="4799135"/>
            <a:ext cx="1822938"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gosto-settembre  ‘13</a:t>
            </a:r>
          </a:p>
          <a:p>
            <a:pPr algn="ctr" defTabSz="740038">
              <a:spcBef>
                <a:spcPct val="20000"/>
              </a:spcBef>
            </a:pPr>
            <a:r>
              <a:rPr lang="it-IT" sz="1292" b="1" noProof="1">
                <a:solidFill>
                  <a:srgbClr val="00B0F0"/>
                </a:solidFill>
                <a:latin typeface="Calibri" pitchFamily="34" charset="0"/>
                <a:cs typeface="Arial" charset="0"/>
              </a:rPr>
              <a:t>Elaborazione Vision</a:t>
            </a:r>
          </a:p>
        </p:txBody>
      </p:sp>
      <p:sp>
        <p:nvSpPr>
          <p:cNvPr id="32772" name="Rektangel 83"/>
          <p:cNvSpPr>
            <a:spLocks noChangeArrowheads="1"/>
          </p:cNvSpPr>
          <p:nvPr/>
        </p:nvSpPr>
        <p:spPr bwMode="auto">
          <a:xfrm>
            <a:off x="5593374" y="5418993"/>
            <a:ext cx="1334965" cy="728597"/>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Ottobre ‘13</a:t>
            </a:r>
          </a:p>
          <a:p>
            <a:pPr algn="ctr" defTabSz="740038">
              <a:spcBef>
                <a:spcPct val="20000"/>
              </a:spcBef>
            </a:pPr>
            <a:r>
              <a:rPr lang="it-IT" sz="1292" b="1" noProof="1">
                <a:solidFill>
                  <a:srgbClr val="00B0F0"/>
                </a:solidFill>
                <a:latin typeface="Calibri" pitchFamily="34" charset="0"/>
                <a:cs typeface="Arial" charset="0"/>
              </a:rPr>
              <a:t>Partecipazione Tavoli </a:t>
            </a:r>
            <a:r>
              <a:rPr lang="it-IT" sz="1108" b="1" noProof="1">
                <a:solidFill>
                  <a:srgbClr val="00B0F0"/>
                </a:solidFill>
                <a:latin typeface="Calibri" pitchFamily="34" charset="0"/>
                <a:cs typeface="Arial" charset="0"/>
              </a:rPr>
              <a:t>MISE-MIUR</a:t>
            </a:r>
          </a:p>
        </p:txBody>
      </p:sp>
      <p:sp>
        <p:nvSpPr>
          <p:cNvPr id="32773" name="Rektangel 85"/>
          <p:cNvSpPr>
            <a:spLocks noChangeArrowheads="1"/>
          </p:cNvSpPr>
          <p:nvPr/>
        </p:nvSpPr>
        <p:spPr bwMode="auto">
          <a:xfrm>
            <a:off x="4377104" y="5351585"/>
            <a:ext cx="1170842"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Elaborazione primo Sistema di indicatori</a:t>
            </a:r>
          </a:p>
        </p:txBody>
      </p:sp>
      <p:sp>
        <p:nvSpPr>
          <p:cNvPr id="32774" name="Rektangel 87"/>
          <p:cNvSpPr>
            <a:spLocks noChangeArrowheads="1"/>
          </p:cNvSpPr>
          <p:nvPr/>
        </p:nvSpPr>
        <p:spPr bwMode="auto">
          <a:xfrm>
            <a:off x="3118339" y="1745274"/>
            <a:ext cx="1170843"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Schede tematiche priorità</a:t>
            </a:r>
          </a:p>
        </p:txBody>
      </p:sp>
      <p:sp>
        <p:nvSpPr>
          <p:cNvPr id="32775" name="Rektangel 87"/>
          <p:cNvSpPr>
            <a:spLocks noChangeArrowheads="1"/>
          </p:cNvSpPr>
          <p:nvPr/>
        </p:nvSpPr>
        <p:spPr bwMode="auto">
          <a:xfrm>
            <a:off x="4347797" y="1334966"/>
            <a:ext cx="1560634"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Febbraio ’14</a:t>
            </a:r>
          </a:p>
          <a:p>
            <a:pPr algn="ctr" defTabSz="740038">
              <a:spcBef>
                <a:spcPct val="20000"/>
              </a:spcBef>
            </a:pPr>
            <a:r>
              <a:rPr lang="it-IT" sz="1292" b="1" noProof="1">
                <a:solidFill>
                  <a:srgbClr val="FF0000"/>
                </a:solidFill>
                <a:latin typeface="Calibri" pitchFamily="34" charset="0"/>
                <a:cs typeface="Arial" charset="0"/>
              </a:rPr>
              <a:t>Invio Progress n. 2</a:t>
            </a:r>
          </a:p>
        </p:txBody>
      </p:sp>
      <p:grpSp>
        <p:nvGrpSpPr>
          <p:cNvPr id="32776" name="Gruppo 6"/>
          <p:cNvGrpSpPr>
            <a:grpSpLocks/>
          </p:cNvGrpSpPr>
          <p:nvPr/>
        </p:nvGrpSpPr>
        <p:grpSpPr bwMode="auto">
          <a:xfrm>
            <a:off x="168520" y="5423389"/>
            <a:ext cx="2781300" cy="778119"/>
            <a:chOff x="-147930" y="-613865"/>
            <a:chExt cx="3525613" cy="843596"/>
          </a:xfrm>
        </p:grpSpPr>
        <p:graphicFrame>
          <p:nvGraphicFramePr>
            <p:cNvPr id="3" name="Diagramma 2"/>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2" name="CasellaDiTesto 4"/>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pic>
        <p:nvPicPr>
          <p:cNvPr id="5127" name="Picture 7" descr="C:\Users\User\AppData\Local\Microsoft\Windows\Temporary Internet Files\Content.IE5\DZV5P7NP\MC900441896[1].wmf"/>
          <p:cNvPicPr>
            <a:picLocks noChangeAspect="1" noChangeArrowheads="1"/>
          </p:cNvPicPr>
          <p:nvPr/>
        </p:nvPicPr>
        <p:blipFill>
          <a:blip r:embed="rId13" cstate="print">
            <a:duotone>
              <a:schemeClr val="accent2">
                <a:shade val="45000"/>
                <a:satMod val="135000"/>
              </a:schemeClr>
              <a:prstClr val="white"/>
            </a:duotone>
            <a:extLst/>
          </a:blip>
          <a:srcRect/>
          <a:stretch>
            <a:fillRect/>
          </a:stretch>
        </p:blipFill>
        <p:spPr bwMode="auto">
          <a:xfrm>
            <a:off x="779205" y="4112902"/>
            <a:ext cx="1768251" cy="1226287"/>
          </a:xfrm>
          <a:prstGeom prst="rect">
            <a:avLst/>
          </a:prstGeom>
          <a:noFill/>
          <a:extLst/>
        </p:spPr>
      </p:pic>
      <p:grpSp>
        <p:nvGrpSpPr>
          <p:cNvPr id="32778" name="Gruppo 86"/>
          <p:cNvGrpSpPr>
            <a:grpSpLocks/>
          </p:cNvGrpSpPr>
          <p:nvPr/>
        </p:nvGrpSpPr>
        <p:grpSpPr bwMode="auto">
          <a:xfrm>
            <a:off x="168520" y="5423389"/>
            <a:ext cx="2781300" cy="778119"/>
            <a:chOff x="-147930" y="-613865"/>
            <a:chExt cx="3525613" cy="843596"/>
          </a:xfrm>
        </p:grpSpPr>
        <p:graphicFrame>
          <p:nvGraphicFramePr>
            <p:cNvPr id="99" name="Diagramma 98"/>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32780" name="CasellaDiTesto 99"/>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graphicFrame>
        <p:nvGraphicFramePr>
          <p:cNvPr id="51" name="Diagramma 50"/>
          <p:cNvGraphicFramePr/>
          <p:nvPr>
            <p:extLst>
              <p:ext uri="{D42A27DB-BD31-4B8C-83A1-F6EECF244321}">
                <p14:modId xmlns:p14="http://schemas.microsoft.com/office/powerpoint/2010/main" val="1265698129"/>
              </p:ext>
            </p:extLst>
          </p:nvPr>
        </p:nvGraphicFramePr>
        <p:xfrm>
          <a:off x="195858" y="738329"/>
          <a:ext cx="8768630" cy="72008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Tree>
    <p:extLst>
      <p:ext uri="{BB962C8B-B14F-4D97-AF65-F5344CB8AC3E}">
        <p14:creationId xmlns:p14="http://schemas.microsoft.com/office/powerpoint/2010/main" val="37817442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txBox="1">
            <a:spLocks noGrp="1"/>
          </p:cNvSpPr>
          <p:nvPr>
            <p:ph type="title" idx="4294967295"/>
          </p:nvPr>
        </p:nvSpPr>
        <p:spPr>
          <a:xfrm>
            <a:off x="611560" y="1052736"/>
            <a:ext cx="7976089" cy="1302187"/>
          </a:xfrm>
        </p:spPr>
        <p:txBody>
          <a:bodyPr>
            <a:normAutofit fontScale="90000"/>
          </a:bodyPr>
          <a:lstStyle/>
          <a:p>
            <a:pPr marL="422041" lvl="0">
              <a:buSzPct val="45000"/>
              <a:defRPr/>
            </a:pPr>
            <a:r>
              <a:rPr lang="it-IT" sz="2215" dirty="0">
                <a:solidFill>
                  <a:schemeClr val="accent1">
                    <a:lumMod val="60000"/>
                    <a:lumOff val="40000"/>
                  </a:schemeClr>
                </a:solidFill>
                <a:latin typeface="Neo Sans Std Medium"/>
                <a:ea typeface="+mn-ea"/>
                <a:cs typeface="Arial" pitchFamily="34" charset="0"/>
              </a:rPr>
              <a:t> </a:t>
            </a:r>
            <a:br>
              <a:rPr lang="it-IT" sz="2215" dirty="0">
                <a:solidFill>
                  <a:schemeClr val="accent1">
                    <a:lumMod val="60000"/>
                    <a:lumOff val="40000"/>
                  </a:schemeClr>
                </a:solidFill>
                <a:latin typeface="Neo Sans Std Medium"/>
                <a:ea typeface="+mn-ea"/>
                <a:cs typeface="Arial" pitchFamily="34" charset="0"/>
              </a:rPr>
            </a:br>
            <a:r>
              <a:rPr lang="it-IT" sz="2000" b="1" dirty="0">
                <a:solidFill>
                  <a:schemeClr val="accent1">
                    <a:lumMod val="75000"/>
                  </a:schemeClr>
                </a:solidFill>
              </a:rPr>
              <a:t>A che punto è la definizione della RIS 3 </a:t>
            </a:r>
            <a:r>
              <a:rPr lang="it-IT" sz="2000" b="1" dirty="0" smtClean="0">
                <a:solidFill>
                  <a:schemeClr val="accent1">
                    <a:lumMod val="75000"/>
                  </a:schemeClr>
                </a:solidFill>
              </a:rPr>
              <a:t>Sicilia: prossime tappe</a:t>
            </a:r>
            <a:r>
              <a:rPr lang="it-IT" sz="2000" dirty="0"/>
              <a:t/>
            </a:r>
            <a:br>
              <a:rPr lang="it-IT" sz="2000" dirty="0"/>
            </a:br>
            <a:r>
              <a:rPr lang="it-IT" sz="2215" dirty="0" smtClean="0">
                <a:solidFill>
                  <a:schemeClr val="accent1">
                    <a:lumMod val="60000"/>
                    <a:lumOff val="40000"/>
                  </a:schemeClr>
                </a:solidFill>
                <a:latin typeface="Neo Sans Std Medium"/>
                <a:ea typeface="+mn-ea"/>
                <a:cs typeface="Arial" pitchFamily="34" charset="0"/>
              </a:rPr>
              <a:t>Azioni </a:t>
            </a:r>
            <a:r>
              <a:rPr lang="it-IT" sz="2215" dirty="0">
                <a:solidFill>
                  <a:schemeClr val="accent1">
                    <a:lumMod val="60000"/>
                    <a:lumOff val="40000"/>
                  </a:schemeClr>
                </a:solidFill>
                <a:latin typeface="Neo Sans Std Medium"/>
                <a:ea typeface="+mn-ea"/>
                <a:cs typeface="Arial" pitchFamily="34" charset="0"/>
              </a:rPr>
              <a:t>previste e risultati attesi nei prossimi mesi </a:t>
            </a:r>
            <a:br>
              <a:rPr lang="it-IT" sz="2215" dirty="0">
                <a:solidFill>
                  <a:schemeClr val="accent1">
                    <a:lumMod val="60000"/>
                    <a:lumOff val="40000"/>
                  </a:schemeClr>
                </a:solidFill>
                <a:latin typeface="Neo Sans Std Medium"/>
                <a:ea typeface="+mn-ea"/>
                <a:cs typeface="Arial" pitchFamily="34" charset="0"/>
              </a:rPr>
            </a:br>
            <a:r>
              <a:rPr lang="it-IT" sz="2215" dirty="0">
                <a:solidFill>
                  <a:schemeClr val="accent1">
                    <a:lumMod val="60000"/>
                    <a:lumOff val="40000"/>
                  </a:schemeClr>
                </a:solidFill>
                <a:latin typeface="Neo Sans Std Medium"/>
                <a:ea typeface="+mn-ea"/>
                <a:cs typeface="Arial" pitchFamily="34" charset="0"/>
              </a:rPr>
              <a:t>(aprile-dicembre 2014)</a:t>
            </a:r>
            <a:br>
              <a:rPr lang="it-IT" sz="2215" dirty="0">
                <a:solidFill>
                  <a:schemeClr val="accent1">
                    <a:lumMod val="60000"/>
                    <a:lumOff val="40000"/>
                  </a:schemeClr>
                </a:solidFill>
                <a:latin typeface="Neo Sans Std Medium"/>
                <a:ea typeface="+mn-ea"/>
                <a:cs typeface="Arial" pitchFamily="34" charset="0"/>
              </a:rPr>
            </a:br>
            <a:endParaRPr lang="it-IT" sz="2215" dirty="0">
              <a:solidFill>
                <a:schemeClr val="accent1">
                  <a:lumMod val="60000"/>
                  <a:lumOff val="40000"/>
                </a:schemeClr>
              </a:solidFill>
              <a:latin typeface="Neo Sans Std Medium"/>
              <a:ea typeface="+mn-ea"/>
              <a:cs typeface="Arial" pitchFamily="34" charset="0"/>
            </a:endParaRPr>
          </a:p>
        </p:txBody>
      </p:sp>
      <p:graphicFrame>
        <p:nvGraphicFramePr>
          <p:cNvPr id="3" name="Segnaposto contenuto 2"/>
          <p:cNvGraphicFramePr>
            <a:graphicFrameLocks noGrp="1"/>
          </p:cNvGraphicFramePr>
          <p:nvPr>
            <p:ph idx="4294967295"/>
            <p:extLst>
              <p:ext uri="{D42A27DB-BD31-4B8C-83A1-F6EECF244321}">
                <p14:modId xmlns:p14="http://schemas.microsoft.com/office/powerpoint/2010/main" val="3316845525"/>
              </p:ext>
            </p:extLst>
          </p:nvPr>
        </p:nvGraphicFramePr>
        <p:xfrm>
          <a:off x="450927" y="1767254"/>
          <a:ext cx="8175678" cy="4561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ma 3"/>
          <p:cNvGraphicFramePr/>
          <p:nvPr/>
        </p:nvGraphicFramePr>
        <p:xfrm>
          <a:off x="914974" y="1501401"/>
          <a:ext cx="7696904" cy="797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6571114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a:spLocks noGrp="1" noChangeArrowheads="1"/>
          </p:cNvSpPr>
          <p:nvPr>
            <p:ph type="title" idx="4294967295"/>
          </p:nvPr>
        </p:nvSpPr>
        <p:spPr>
          <a:xfrm>
            <a:off x="583865" y="908720"/>
            <a:ext cx="8232531" cy="863600"/>
          </a:xfrm>
          <a:noFill/>
        </p:spPr>
        <p:txBody>
          <a:bodyPr/>
          <a:lstStyle/>
          <a:p>
            <a:pPr algn="ctr">
              <a:defRPr/>
            </a:pPr>
            <a:r>
              <a:rPr lang="it-IT" sz="2400" kern="1200" dirty="0" smtClean="0">
                <a:solidFill>
                  <a:schemeClr val="accent2"/>
                </a:solidFill>
                <a:latin typeface="Neo Sans Std Medium" pitchFamily="34" charset="0"/>
                <a:ea typeface="+mn-ea"/>
                <a:cs typeface="+mn-cs"/>
              </a:rPr>
              <a:t>La RIS 3 Sicilia ha </a:t>
            </a:r>
            <a:r>
              <a:rPr lang="it-IT" sz="2400" kern="1200" dirty="0">
                <a:solidFill>
                  <a:schemeClr val="accent2"/>
                </a:solidFill>
                <a:latin typeface="Neo Sans Std Medium" pitchFamily="34" charset="0"/>
                <a:ea typeface="+mn-ea"/>
                <a:cs typeface="+mn-cs"/>
              </a:rPr>
              <a:t>avviato un processo per </a:t>
            </a:r>
            <a:r>
              <a:rPr lang="it-IT" sz="2400" kern="1200" dirty="0" smtClean="0">
                <a:solidFill>
                  <a:schemeClr val="accent2"/>
                </a:solidFill>
                <a:latin typeface="Neo Sans Std Medium" pitchFamily="34" charset="0"/>
                <a:ea typeface="+mn-ea"/>
                <a:cs typeface="+mn-cs"/>
              </a:rPr>
              <a:t>valorizzare</a:t>
            </a:r>
            <a:br>
              <a:rPr lang="it-IT" sz="2400" kern="1200" dirty="0" smtClean="0">
                <a:solidFill>
                  <a:schemeClr val="accent2"/>
                </a:solidFill>
                <a:latin typeface="Neo Sans Std Medium" pitchFamily="34" charset="0"/>
                <a:ea typeface="+mn-ea"/>
                <a:cs typeface="+mn-cs"/>
              </a:rPr>
            </a:br>
            <a:r>
              <a:rPr lang="it-IT" sz="2400" kern="1200" dirty="0" smtClean="0">
                <a:solidFill>
                  <a:schemeClr val="accent2"/>
                </a:solidFill>
                <a:latin typeface="Neo Sans Std Medium" pitchFamily="34" charset="0"/>
                <a:ea typeface="+mn-ea"/>
                <a:cs typeface="+mn-cs"/>
              </a:rPr>
              <a:t> </a:t>
            </a:r>
            <a:r>
              <a:rPr lang="it-IT" sz="2400" kern="1200" dirty="0">
                <a:solidFill>
                  <a:schemeClr val="accent2"/>
                </a:solidFill>
                <a:latin typeface="Neo Sans Std Medium" pitchFamily="34" charset="0"/>
                <a:ea typeface="+mn-ea"/>
                <a:cs typeface="+mn-cs"/>
              </a:rPr>
              <a:t>il potenziale individuato </a:t>
            </a:r>
            <a:r>
              <a:rPr lang="it-IT" sz="2400" kern="1200" dirty="0" smtClean="0">
                <a:solidFill>
                  <a:schemeClr val="accent2"/>
                </a:solidFill>
                <a:latin typeface="Neo Sans Std Medium" pitchFamily="34" charset="0"/>
                <a:ea typeface="+mn-ea"/>
                <a:cs typeface="+mn-cs"/>
              </a:rPr>
              <a:t>attraverso:</a:t>
            </a:r>
            <a:endParaRPr lang="it-IT" sz="2400" kern="1200" dirty="0">
              <a:solidFill>
                <a:schemeClr val="accent2"/>
              </a:solidFill>
              <a:latin typeface="Neo Sans Std Medium" pitchFamily="34" charset="0"/>
              <a:ea typeface="+mn-ea"/>
              <a:cs typeface="+mn-cs"/>
            </a:endParaRPr>
          </a:p>
        </p:txBody>
      </p:sp>
      <p:graphicFrame>
        <p:nvGraphicFramePr>
          <p:cNvPr id="2" name="Diagramma 1"/>
          <p:cNvGraphicFramePr/>
          <p:nvPr>
            <p:extLst>
              <p:ext uri="{D42A27DB-BD31-4B8C-83A1-F6EECF244321}">
                <p14:modId xmlns:p14="http://schemas.microsoft.com/office/powerpoint/2010/main" val="3568877063"/>
              </p:ext>
            </p:extLst>
          </p:nvPr>
        </p:nvGraphicFramePr>
        <p:xfrm>
          <a:off x="716802" y="1772816"/>
          <a:ext cx="7976271"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407362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ChangeArrowheads="1"/>
          </p:cNvSpPr>
          <p:nvPr>
            <p:ph type="title" idx="4294967295"/>
          </p:nvPr>
        </p:nvSpPr>
        <p:spPr>
          <a:xfrm>
            <a:off x="1835696" y="548680"/>
            <a:ext cx="5472608" cy="432048"/>
          </a:xfrm>
          <a:noFill/>
        </p:spPr>
        <p:txBody>
          <a:bodyPr>
            <a:normAutofit fontScale="90000"/>
          </a:bodyPr>
          <a:lstStyle/>
          <a:p>
            <a:pPr algn="ctr">
              <a:defRPr/>
            </a:pPr>
            <a:r>
              <a:rPr lang="it-IT" sz="3200" kern="1200" dirty="0">
                <a:solidFill>
                  <a:schemeClr val="accent2"/>
                </a:solidFill>
                <a:latin typeface="Neo Sans Std Medium" pitchFamily="34" charset="0"/>
                <a:ea typeface="+mn-ea"/>
                <a:cs typeface="+mn-cs"/>
              </a:rPr>
              <a:t>Obiettivi</a:t>
            </a:r>
          </a:p>
        </p:txBody>
      </p:sp>
      <p:graphicFrame>
        <p:nvGraphicFramePr>
          <p:cNvPr id="2" name="Diagramma 1"/>
          <p:cNvGraphicFramePr/>
          <p:nvPr>
            <p:extLst>
              <p:ext uri="{D42A27DB-BD31-4B8C-83A1-F6EECF244321}">
                <p14:modId xmlns:p14="http://schemas.microsoft.com/office/powerpoint/2010/main" val="390167410"/>
              </p:ext>
            </p:extLst>
          </p:nvPr>
        </p:nvGraphicFramePr>
        <p:xfrm>
          <a:off x="251520" y="1196752"/>
          <a:ext cx="8693073" cy="5256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878316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6"/>
          <p:cNvGraphicFramePr>
            <a:graphicFrameLocks noGrp="1"/>
          </p:cNvGraphicFramePr>
          <p:nvPr>
            <p:extLst/>
          </p:nvPr>
        </p:nvGraphicFramePr>
        <p:xfrm>
          <a:off x="360735" y="2099622"/>
          <a:ext cx="8465275" cy="3992723"/>
        </p:xfrm>
        <a:graphic>
          <a:graphicData uri="http://schemas.openxmlformats.org/drawingml/2006/table">
            <a:tbl>
              <a:tblPr firstRow="1" bandRow="1">
                <a:effectLst>
                  <a:outerShdw blurRad="50800" dist="38100" dir="5400000" algn="t" rotWithShape="0">
                    <a:prstClr val="black">
                      <a:alpha val="40000"/>
                    </a:prstClr>
                  </a:outerShdw>
                </a:effectLst>
                <a:tableStyleId>{21E4AEA4-8DFA-4A89-87EB-49C32662AFE0}</a:tableStyleId>
              </a:tblPr>
              <a:tblGrid>
                <a:gridCol w="3215492"/>
                <a:gridCol w="2450780"/>
                <a:gridCol w="2799003"/>
              </a:tblGrid>
              <a:tr h="385099">
                <a:tc>
                  <a:txBody>
                    <a:bodyPr/>
                    <a:lstStyle/>
                    <a:p>
                      <a:pPr algn="ctr">
                        <a:spcAft>
                          <a:spcPts val="0"/>
                        </a:spcAft>
                      </a:pPr>
                      <a:r>
                        <a:rPr lang="it-IT" sz="1100" dirty="0" smtClean="0">
                          <a:effectLst/>
                        </a:rPr>
                        <a:t>OBIETTIVI GENERALI</a:t>
                      </a:r>
                      <a:endParaRPr lang="it-IT" sz="1100" b="1" dirty="0" smtClean="0">
                        <a:solidFill>
                          <a:schemeClr val="bg1"/>
                        </a:solidFill>
                        <a:effectLst/>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LEVE DEL CAMBIAMENTO</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RISORSE DA ATTIVARE</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r>
              <a:tr h="571333">
                <a:tc rowSpan="3">
                  <a:txBody>
                    <a:bodyPr/>
                    <a:lstStyle/>
                    <a:p>
                      <a:pPr marL="0" algn="just" defTabSz="914400" rtl="0" eaLnBrk="1" latinLnBrk="0" hangingPunct="1">
                        <a:lnSpc>
                          <a:spcPct val="115000"/>
                        </a:lnSpc>
                        <a:spcAft>
                          <a:spcPts val="0"/>
                        </a:spcAft>
                      </a:pPr>
                      <a:r>
                        <a:rPr lang="it-IT" sz="1000" b="1" kern="1200" dirty="0"/>
                        <a:t>Rafforzare il sistema produttivo regionale</a:t>
                      </a:r>
                      <a:r>
                        <a:rPr lang="it-IT" sz="1300" dirty="0">
                          <a:effectLst/>
                        </a:rPr>
                        <a:t> </a:t>
                      </a:r>
                      <a:r>
                        <a:rPr lang="it-IT" sz="1000" kern="1200" dirty="0"/>
                        <a:t>supportando il posizionamento nelle aree tecnologiche in cui la regione vanta delle competenze </a:t>
                      </a:r>
                      <a:r>
                        <a:rPr lang="it-IT" sz="1000" kern="1200" dirty="0" smtClean="0"/>
                        <a:t>distintive ( KETs: micro-elettronica e biotecnologie) </a:t>
                      </a:r>
                      <a:r>
                        <a:rPr lang="it-IT" sz="1000" kern="1200" dirty="0"/>
                        <a:t>e promuovendo </a:t>
                      </a:r>
                      <a:r>
                        <a:rPr lang="it-IT" sz="1000" kern="1200" dirty="0" smtClean="0"/>
                        <a:t>l’innalzamento del livello </a:t>
                      </a:r>
                      <a:r>
                        <a:rPr lang="it-IT" sz="1000" kern="1200" dirty="0"/>
                        <a:t>tecnologico e la scoperta imprenditoriale nei settori produttivi tradizional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smtClean="0"/>
                        <a:t>Significativo posizionamento </a:t>
                      </a:r>
                      <a:r>
                        <a:rPr lang="it-IT" sz="1000" b="1" kern="1200" dirty="0"/>
                        <a:t>competitivo</a:t>
                      </a:r>
                      <a:r>
                        <a:rPr lang="it-IT" sz="1000" kern="1200" dirty="0"/>
                        <a:t> del sistema regione nel presidio di alcune </a:t>
                      </a:r>
                      <a:r>
                        <a:rPr lang="it-IT" sz="1000" kern="1200" dirty="0" smtClean="0"/>
                        <a:t>KETs</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Aree di expertise chiave,  </a:t>
                      </a:r>
                      <a:r>
                        <a:rPr lang="it-IT" sz="1000" kern="1200" dirty="0"/>
                        <a:t>sistemi avanzati di relazione tra Università, centri di ricerca, grandi imprese  &amp; PMI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73723">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Densità del tessuto economico/imprenditoriale </a:t>
                      </a:r>
                      <a:r>
                        <a:rPr lang="it-IT" sz="1000" b="0" kern="1200" dirty="0">
                          <a:solidFill>
                            <a:schemeClr val="dk1"/>
                          </a:solidFill>
                          <a:latin typeface="+mn-lt"/>
                          <a:ea typeface="+mn-ea"/>
                          <a:cs typeface="+mn-cs"/>
                        </a:rPr>
                        <a:t>tradizionale (n. imprese, addetti) e presenza di fattori endogeni </a:t>
                      </a:r>
                      <a:r>
                        <a:rPr lang="it-IT" sz="1000" b="0" kern="1200" dirty="0" smtClean="0">
                          <a:solidFill>
                            <a:schemeClr val="dk1"/>
                          </a:solidFill>
                          <a:latin typeface="+mn-lt"/>
                          <a:ea typeface="+mn-ea"/>
                          <a:cs typeface="+mn-cs"/>
                        </a:rPr>
                        <a:t>qualificanti</a:t>
                      </a:r>
                    </a:p>
                    <a:p>
                      <a:pPr marL="0" algn="just" defTabSz="914400" rtl="0" eaLnBrk="1" latinLnBrk="0" hangingPunct="1">
                        <a:spcAft>
                          <a:spcPts val="0"/>
                        </a:spcAft>
                      </a:pPr>
                      <a:endParaRPr lang="it-IT" sz="1000" b="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sset sottoutilizzati</a:t>
                      </a:r>
                      <a:r>
                        <a:rPr lang="it-IT" sz="1000" kern="1200" dirty="0"/>
                        <a:t>, Settori economici tradizionali, innovazioni tecnologiche e non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9415">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Matching tra imprenditorialità</a:t>
                      </a:r>
                      <a:r>
                        <a:rPr lang="it-IT" sz="1000" kern="1200" dirty="0"/>
                        <a:t>, anche potenziale, e l’offerta di ricerca</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kern="1200" dirty="0"/>
                        <a:t>) e </a:t>
                      </a:r>
                      <a:r>
                        <a:rPr lang="it-IT" sz="1000" b="1" kern="1200" dirty="0"/>
                        <a:t>offerta di ricerca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11825">
                <a:tc rowSpan="2">
                  <a:txBody>
                    <a:bodyPr/>
                    <a:lstStyle/>
                    <a:p>
                      <a:pPr marL="0" algn="just" defTabSz="914400" rtl="0" eaLnBrk="1" latinLnBrk="0" hangingPunct="1">
                        <a:lnSpc>
                          <a:spcPct val="115000"/>
                        </a:lnSpc>
                        <a:spcAft>
                          <a:spcPts val="0"/>
                        </a:spcAft>
                      </a:pPr>
                      <a:r>
                        <a:rPr lang="it-IT" sz="1000" b="1" kern="1200" dirty="0" smtClean="0">
                          <a:solidFill>
                            <a:schemeClr val="dk1"/>
                          </a:solidFill>
                          <a:latin typeface="+mn-lt"/>
                          <a:ea typeface="+mn-ea"/>
                          <a:cs typeface="+mn-cs"/>
                        </a:rPr>
                        <a:t>Sostenere la diffusione di soluzioni e servizi innovativi </a:t>
                      </a:r>
                      <a:r>
                        <a:rPr lang="it-IT" sz="1000" kern="1200" dirty="0" smtClean="0"/>
                        <a:t>in risposta ai bisogni sociali, economici ed ambientali insoddisfatti e finalizzati a migliorare la qualità della vita dei siciliani</a:t>
                      </a:r>
                    </a:p>
                    <a:p>
                      <a:pPr marL="0" algn="just" defTabSz="914400" rtl="0" eaLnBrk="1" latinLnBrk="0" hangingPunct="1">
                        <a:lnSpc>
                          <a:spcPct val="115000"/>
                        </a:lnSpc>
                        <a:spcAft>
                          <a:spcPts val="0"/>
                        </a:spcAft>
                      </a:pPr>
                      <a:r>
                        <a:rPr lang="it-IT" sz="1000" kern="1200" dirty="0" smtClean="0"/>
                        <a:t>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Utilizzo diffuso delle innovazioni </a:t>
                      </a:r>
                      <a:r>
                        <a:rPr lang="it-IT" sz="1000" kern="1200" dirty="0"/>
                        <a:t>(anche non </a:t>
                      </a:r>
                      <a:r>
                        <a:rPr lang="it-IT" sz="1000" kern="1200" dirty="0" err="1"/>
                        <a:t>tech</a:t>
                      </a:r>
                      <a:r>
                        <a:rPr lang="it-IT" sz="1000" kern="1200" dirty="0"/>
                        <a:t>) in risposta alle sfide sociali emergenti negli ambienti urbani e </a:t>
                      </a:r>
                      <a:r>
                        <a:rPr lang="it-IT" sz="1000" kern="1200" dirty="0" smtClean="0"/>
                        <a:t>marginali</a:t>
                      </a:r>
                    </a:p>
                    <a:p>
                      <a:pPr marL="0" algn="just" defTabSz="914400" rtl="0" eaLnBrk="1" latinLnBrk="0" hangingPunct="1">
                        <a:lnSpc>
                          <a:spcPct val="115000"/>
                        </a:lnSpc>
                        <a:spcAft>
                          <a:spcPts val="0"/>
                        </a:spcAft>
                      </a:pP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pplicazione delle KET </a:t>
                      </a:r>
                      <a:r>
                        <a:rPr lang="it-IT" sz="1000" kern="1200" dirty="0"/>
                        <a:t>in risposta alla domanda pubblica di servizi innovativ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6774">
                <a:tc vMerge="1">
                  <a:txBody>
                    <a:bodyPr/>
                    <a:lstStyle/>
                    <a:p>
                      <a:endParaRPr lang="it-I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Presenza di nuove categorie </a:t>
                      </a:r>
                      <a:r>
                        <a:rPr lang="it-IT" sz="1000" kern="1200" dirty="0"/>
                        <a:t>degli innovatori sociali e di creativi culturali.</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e strumentalità dell’ICT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694554">
                <a:tc>
                  <a:txBody>
                    <a:bodyPr/>
                    <a:lstStyle/>
                    <a:p>
                      <a:pPr marL="0" algn="just" defTabSz="914400" rtl="0" eaLnBrk="1" latinLnBrk="0" hangingPunct="1">
                        <a:lnSpc>
                          <a:spcPct val="115000"/>
                        </a:lnSpc>
                        <a:spcAft>
                          <a:spcPts val="0"/>
                        </a:spcAft>
                      </a:pPr>
                      <a:r>
                        <a:rPr lang="it-IT" sz="1000" b="1" kern="1200" dirty="0">
                          <a:solidFill>
                            <a:schemeClr val="dk1"/>
                          </a:solidFill>
                          <a:latin typeface="+mn-lt"/>
                          <a:ea typeface="+mn-ea"/>
                          <a:cs typeface="+mn-cs"/>
                        </a:rPr>
                        <a:t>Promuovere la più ampia diffusione della cultura dell’innovazione </a:t>
                      </a:r>
                      <a:r>
                        <a:rPr lang="it-IT" sz="1000" kern="1200" dirty="0"/>
                        <a:t>a tutti i livelli della società </a:t>
                      </a:r>
                      <a:r>
                        <a:rPr lang="it-IT" sz="1000" kern="1200" dirty="0" smtClean="0"/>
                        <a:t>regionale</a:t>
                      </a:r>
                      <a:endParaRPr lang="it-IT" sz="1000" kern="1200" dirty="0"/>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Potenziale latente di domanda / produzione di innovazione</a:t>
                      </a:r>
                      <a:r>
                        <a:rPr lang="it-IT" sz="1000" kern="1200" dirty="0"/>
                        <a:t> e creatività del capitale umano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studenti, giovani e pubblica amministrazione</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2" name="Rettangolo 1"/>
          <p:cNvSpPr/>
          <p:nvPr/>
        </p:nvSpPr>
        <p:spPr>
          <a:xfrm>
            <a:off x="384458" y="1195775"/>
            <a:ext cx="6846277" cy="433196"/>
          </a:xfrm>
          <a:prstGeom prst="rect">
            <a:avLst/>
          </a:prstGeom>
        </p:spPr>
        <p:txBody>
          <a:bodyPr>
            <a:spAutoFit/>
          </a:bodyPr>
          <a:lstStyle/>
          <a:p>
            <a:pPr algn="ctr">
              <a:defRPr/>
            </a:pPr>
            <a:r>
              <a:rPr lang="it-IT" sz="2215" b="1" dirty="0" smtClean="0">
                <a:solidFill>
                  <a:schemeClr val="accent2"/>
                </a:solidFill>
                <a:effectLst>
                  <a:outerShdw blurRad="38100" dist="38100" dir="2700000" algn="tl">
                    <a:srgbClr val="C0C0C0"/>
                  </a:outerShdw>
                </a:effectLst>
                <a:latin typeface="Neo Sans Std Medium" pitchFamily="34" charset="0"/>
              </a:rPr>
              <a:t>I PILASTRI DELLA STRATEGIA</a:t>
            </a:r>
            <a:endParaRPr lang="it-IT" sz="2215" b="1" dirty="0">
              <a:solidFill>
                <a:schemeClr val="accent2"/>
              </a:solidFill>
              <a:effectLst>
                <a:outerShdw blurRad="38100" dist="38100" dir="2700000" algn="tl">
                  <a:srgbClr val="C0C0C0"/>
                </a:outerShdw>
              </a:effectLst>
              <a:latin typeface="Neo Sans Std Medium" pitchFamily="34" charset="0"/>
            </a:endParaRPr>
          </a:p>
        </p:txBody>
      </p:sp>
      <p:grpSp>
        <p:nvGrpSpPr>
          <p:cNvPr id="5" name="Gruppo 4"/>
          <p:cNvGrpSpPr/>
          <p:nvPr/>
        </p:nvGrpSpPr>
        <p:grpSpPr>
          <a:xfrm>
            <a:off x="5103751" y="716413"/>
            <a:ext cx="3389498" cy="1395847"/>
            <a:chOff x="4736976" y="548680"/>
            <a:chExt cx="5184124" cy="1944216"/>
          </a:xfrm>
        </p:grpSpPr>
        <p:graphicFrame>
          <p:nvGraphicFramePr>
            <p:cNvPr id="6" name="Diagramma 5"/>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3" name="Rettangolo 2"/>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1)  </a:t>
            </a:r>
            <a:r>
              <a:rPr lang="it-IT" dirty="0"/>
              <a:t/>
            </a:r>
            <a:br>
              <a:rPr lang="it-IT" dirty="0"/>
            </a:br>
            <a:endParaRPr lang="it-IT" dirty="0"/>
          </a:p>
        </p:txBody>
      </p:sp>
    </p:spTree>
    <p:extLst>
      <p:ext uri="{BB962C8B-B14F-4D97-AF65-F5344CB8AC3E}">
        <p14:creationId xmlns:p14="http://schemas.microsoft.com/office/powerpoint/2010/main" val="178607948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idx="4294967295"/>
          </p:nvPr>
        </p:nvSpPr>
        <p:spPr>
          <a:xfrm>
            <a:off x="450927" y="1434810"/>
            <a:ext cx="8232531" cy="864096"/>
          </a:xfrm>
          <a:noFill/>
        </p:spPr>
        <p:txBody>
          <a:bodyPr>
            <a:normAutofit fontScale="90000"/>
          </a:bodyPr>
          <a:lstStyle/>
          <a:p>
            <a:pPr lvl="0" algn="ctr"/>
            <a:r>
              <a:rPr lang="it-IT" sz="2215" dirty="0">
                <a:solidFill>
                  <a:schemeClr val="accent2"/>
                </a:solidFill>
                <a:latin typeface="Neo Sans Std Medium" pitchFamily="34" charset="0"/>
                <a:ea typeface="+mn-ea"/>
                <a:cs typeface="+mn-cs"/>
              </a:rPr>
              <a:t>Il perseguimento dei tre obiettivi verrà effettuato mediante un approccio </a:t>
            </a:r>
            <a:r>
              <a:rPr lang="it-IT" sz="2215" i="1" dirty="0">
                <a:solidFill>
                  <a:srgbClr val="FF0000"/>
                </a:solidFill>
                <a:latin typeface="Neo Sans Std Medium" pitchFamily="34" charset="0"/>
                <a:ea typeface="+mn-ea"/>
                <a:cs typeface="+mn-cs"/>
              </a:rPr>
              <a:t>logico duale </a:t>
            </a:r>
            <a:r>
              <a:rPr lang="it-IT" sz="2215" dirty="0">
                <a:solidFill>
                  <a:schemeClr val="accent2"/>
                </a:solidFill>
                <a:latin typeface="Neo Sans Std Medium" pitchFamily="34" charset="0"/>
                <a:ea typeface="+mn-ea"/>
                <a:cs typeface="+mn-cs"/>
              </a:rPr>
              <a:t/>
            </a:r>
            <a:br>
              <a:rPr lang="it-IT" sz="2215" dirty="0">
                <a:solidFill>
                  <a:schemeClr val="accent2"/>
                </a:solidFill>
                <a:latin typeface="Neo Sans Std Medium" pitchFamily="34" charset="0"/>
                <a:ea typeface="+mn-ea"/>
                <a:cs typeface="+mn-cs"/>
              </a:rPr>
            </a:br>
            <a:endParaRPr lang="it-IT" sz="2215" dirty="0">
              <a:solidFill>
                <a:schemeClr val="accent2"/>
              </a:solidFill>
              <a:latin typeface="Neo Sans Std Medium" pitchFamily="34" charset="0"/>
              <a:ea typeface="+mn-ea"/>
              <a:cs typeface="+mn-cs"/>
            </a:endParaRPr>
          </a:p>
        </p:txBody>
      </p:sp>
      <p:graphicFrame>
        <p:nvGraphicFramePr>
          <p:cNvPr id="3" name="Diagramma 2"/>
          <p:cNvGraphicFramePr/>
          <p:nvPr>
            <p:extLst/>
          </p:nvPr>
        </p:nvGraphicFramePr>
        <p:xfrm>
          <a:off x="583865" y="1833746"/>
          <a:ext cx="8375084" cy="39881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sellaDiTesto 4"/>
          <p:cNvSpPr txBox="1"/>
          <p:nvPr/>
        </p:nvSpPr>
        <p:spPr>
          <a:xfrm>
            <a:off x="3973780" y="2128446"/>
            <a:ext cx="3057570" cy="348109"/>
          </a:xfrm>
          <a:prstGeom prst="rect">
            <a:avLst/>
          </a:prstGeom>
          <a:noFill/>
        </p:spPr>
        <p:txBody>
          <a:bodyPr wrap="square" rtlCol="0">
            <a:spAutoFit/>
          </a:bodyPr>
          <a:lstStyle/>
          <a:p>
            <a:pPr algn="ctr"/>
            <a:r>
              <a:rPr lang="it-IT" sz="1662" b="1" dirty="0">
                <a:solidFill>
                  <a:srgbClr val="FF0000"/>
                </a:solidFill>
                <a:effectLst>
                  <a:outerShdw blurRad="38100" dist="38100" dir="2700000" algn="tl">
                    <a:srgbClr val="C0C0C0"/>
                  </a:outerShdw>
                </a:effectLst>
                <a:latin typeface="Neo Sans Std Medium" pitchFamily="34" charset="0"/>
              </a:rPr>
              <a:t>Attraverso interventi ….</a:t>
            </a:r>
          </a:p>
        </p:txBody>
      </p:sp>
      <p:graphicFrame>
        <p:nvGraphicFramePr>
          <p:cNvPr id="4" name="Diagramma 3"/>
          <p:cNvGraphicFramePr/>
          <p:nvPr>
            <p:extLst/>
          </p:nvPr>
        </p:nvGraphicFramePr>
        <p:xfrm>
          <a:off x="5203455" y="4027221"/>
          <a:ext cx="3655791" cy="34043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ma 6"/>
          <p:cNvGraphicFramePr/>
          <p:nvPr>
            <p:extLst/>
          </p:nvPr>
        </p:nvGraphicFramePr>
        <p:xfrm>
          <a:off x="517396" y="3894283"/>
          <a:ext cx="3988135" cy="146231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8" name="Rettangolo 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2)  </a:t>
            </a:r>
            <a:r>
              <a:rPr lang="it-IT" dirty="0"/>
              <a:t/>
            </a:r>
            <a:br>
              <a:rPr lang="it-IT" dirty="0"/>
            </a:br>
            <a:endParaRPr lang="it-IT" dirty="0"/>
          </a:p>
        </p:txBody>
      </p:sp>
      <p:graphicFrame>
        <p:nvGraphicFramePr>
          <p:cNvPr id="9" name="Diagramma 8"/>
          <p:cNvGraphicFramePr/>
          <p:nvPr>
            <p:extLst>
              <p:ext uri="{D42A27DB-BD31-4B8C-83A1-F6EECF244321}">
                <p14:modId xmlns:p14="http://schemas.microsoft.com/office/powerpoint/2010/main" val="2131588200"/>
              </p:ext>
            </p:extLst>
          </p:nvPr>
        </p:nvGraphicFramePr>
        <p:xfrm>
          <a:off x="6660232" y="204437"/>
          <a:ext cx="2138238" cy="139584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242006273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2"/>
          <p:cNvGrpSpPr/>
          <p:nvPr/>
        </p:nvGrpSpPr>
        <p:grpSpPr>
          <a:xfrm>
            <a:off x="5488975" y="204437"/>
            <a:ext cx="3389498" cy="1395847"/>
            <a:chOff x="4736976" y="548680"/>
            <a:chExt cx="5184124" cy="1944216"/>
          </a:xfrm>
        </p:grpSpPr>
        <p:graphicFrame>
          <p:nvGraphicFramePr>
            <p:cNvPr id="4" name="Diagramma 3"/>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ma 4"/>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cxnSp>
        <p:nvCxnSpPr>
          <p:cNvPr id="26" name="Connettore 2 25"/>
          <p:cNvCxnSpPr>
            <a:endCxn id="46" idx="2"/>
          </p:cNvCxnSpPr>
          <p:nvPr/>
        </p:nvCxnSpPr>
        <p:spPr bwMode="auto">
          <a:xfrm>
            <a:off x="2368132" y="5007128"/>
            <a:ext cx="4834237" cy="1039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nvGrpSpPr>
          <p:cNvPr id="8" name="Gruppo 7"/>
          <p:cNvGrpSpPr/>
          <p:nvPr/>
        </p:nvGrpSpPr>
        <p:grpSpPr>
          <a:xfrm>
            <a:off x="552357" y="902361"/>
            <a:ext cx="7404019" cy="5063960"/>
            <a:chOff x="558867" y="1169057"/>
            <a:chExt cx="5874263" cy="4498681"/>
          </a:xfrm>
        </p:grpSpPr>
        <p:graphicFrame>
          <p:nvGraphicFramePr>
            <p:cNvPr id="34820" name="Diagramma 34819"/>
            <p:cNvGraphicFramePr/>
            <p:nvPr>
              <p:extLst>
                <p:ext uri="{D42A27DB-BD31-4B8C-83A1-F6EECF244321}">
                  <p14:modId xmlns:p14="http://schemas.microsoft.com/office/powerpoint/2010/main" val="593181633"/>
                </p:ext>
              </p:extLst>
            </p:nvPr>
          </p:nvGraphicFramePr>
          <p:xfrm>
            <a:off x="2511464" y="1169057"/>
            <a:ext cx="1847058" cy="7102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7" name="Diagramma 36"/>
            <p:cNvGraphicFramePr/>
            <p:nvPr>
              <p:extLst>
                <p:ext uri="{D42A27DB-BD31-4B8C-83A1-F6EECF244321}">
                  <p14:modId xmlns:p14="http://schemas.microsoft.com/office/powerpoint/2010/main" val="4277644545"/>
                </p:ext>
              </p:extLst>
            </p:nvPr>
          </p:nvGraphicFramePr>
          <p:xfrm>
            <a:off x="4638469" y="1302304"/>
            <a:ext cx="1794661" cy="710253"/>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6" name="Gruppo 5"/>
            <p:cNvGrpSpPr/>
            <p:nvPr/>
          </p:nvGrpSpPr>
          <p:grpSpPr>
            <a:xfrm>
              <a:off x="558867" y="1866981"/>
              <a:ext cx="5702872" cy="3800757"/>
              <a:chOff x="558867" y="1866981"/>
              <a:chExt cx="5702872" cy="3800757"/>
            </a:xfrm>
          </p:grpSpPr>
          <p:grpSp>
            <p:nvGrpSpPr>
              <p:cNvPr id="34837" name="Gruppo 34836"/>
              <p:cNvGrpSpPr/>
              <p:nvPr/>
            </p:nvGrpSpPr>
            <p:grpSpPr>
              <a:xfrm>
                <a:off x="558867" y="1866981"/>
                <a:ext cx="5702872" cy="3800757"/>
                <a:chOff x="605439" y="1736812"/>
                <a:chExt cx="6178111" cy="4117486"/>
              </a:xfrm>
            </p:grpSpPr>
            <p:grpSp>
              <p:nvGrpSpPr>
                <p:cNvPr id="34822" name="Gruppo 34821"/>
                <p:cNvGrpSpPr/>
                <p:nvPr/>
              </p:nvGrpSpPr>
              <p:grpSpPr>
                <a:xfrm>
                  <a:off x="605439" y="1736812"/>
                  <a:ext cx="6178111" cy="4117486"/>
                  <a:chOff x="963965" y="1340768"/>
                  <a:chExt cx="6523471" cy="4463230"/>
                </a:xfrm>
              </p:grpSpPr>
              <p:graphicFrame>
                <p:nvGraphicFramePr>
                  <p:cNvPr id="15" name="Diagramma 14"/>
                  <p:cNvGraphicFramePr/>
                  <p:nvPr>
                    <p:extLst/>
                  </p:nvPr>
                </p:nvGraphicFramePr>
                <p:xfrm>
                  <a:off x="1064568" y="1340768"/>
                  <a:ext cx="2016224" cy="57708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4" name="Diagramma 13"/>
                  <p:cNvGraphicFramePr/>
                  <p:nvPr>
                    <p:extLst/>
                  </p:nvPr>
                </p:nvGraphicFramePr>
                <p:xfrm>
                  <a:off x="1103905" y="2038129"/>
                  <a:ext cx="2016224" cy="73866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3" name="Diagramma 12"/>
                  <p:cNvGraphicFramePr/>
                  <p:nvPr>
                    <p:extLst/>
                  </p:nvPr>
                </p:nvGraphicFramePr>
                <p:xfrm>
                  <a:off x="1078693" y="2876659"/>
                  <a:ext cx="2016224" cy="415498"/>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 name="Diagramma 11"/>
                  <p:cNvGraphicFramePr/>
                  <p:nvPr>
                    <p:extLst/>
                  </p:nvPr>
                </p:nvGraphicFramePr>
                <p:xfrm>
                  <a:off x="1064568" y="3571336"/>
                  <a:ext cx="2016224" cy="900246"/>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7" name="Diagramma 6"/>
                  <p:cNvGraphicFramePr/>
                  <p:nvPr>
                    <p:extLst>
                      <p:ext uri="{D42A27DB-BD31-4B8C-83A1-F6EECF244321}">
                        <p14:modId xmlns:p14="http://schemas.microsoft.com/office/powerpoint/2010/main" val="94817789"/>
                      </p:ext>
                    </p:extLst>
                  </p:nvPr>
                </p:nvGraphicFramePr>
                <p:xfrm>
                  <a:off x="1064568" y="4549328"/>
                  <a:ext cx="2016224" cy="577081"/>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7" name="Diagramma 16"/>
                  <p:cNvGraphicFramePr/>
                  <p:nvPr>
                    <p:extLst>
                      <p:ext uri="{D42A27DB-BD31-4B8C-83A1-F6EECF244321}">
                        <p14:modId xmlns:p14="http://schemas.microsoft.com/office/powerpoint/2010/main" val="1462772840"/>
                      </p:ext>
                    </p:extLst>
                  </p:nvPr>
                </p:nvGraphicFramePr>
                <p:xfrm>
                  <a:off x="963965" y="5155926"/>
                  <a:ext cx="6523471" cy="648072"/>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cxnSp>
                <p:nvCxnSpPr>
                  <p:cNvPr id="21" name="Connettore 2 20"/>
                  <p:cNvCxnSpPr/>
                  <p:nvPr/>
                </p:nvCxnSpPr>
                <p:spPr bwMode="auto">
                  <a:xfrm>
                    <a:off x="3080792" y="1628800"/>
                    <a:ext cx="1549037"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3" name="Connettore 2 22"/>
                  <p:cNvCxnSpPr/>
                  <p:nvPr/>
                </p:nvCxnSpPr>
                <p:spPr bwMode="auto">
                  <a:xfrm>
                    <a:off x="3081382" y="4021459"/>
                    <a:ext cx="3900888"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4" name="Connettore 2 23"/>
                  <p:cNvCxnSpPr>
                    <a:stCxn id="13" idx="3"/>
                    <a:endCxn id="44" idx="2"/>
                  </p:cNvCxnSpPr>
                  <p:nvPr/>
                </p:nvCxnSpPr>
                <p:spPr bwMode="auto">
                  <a:xfrm flipV="1">
                    <a:off x="3094917" y="3072923"/>
                    <a:ext cx="3901477" cy="11486"/>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5" name="Connettore 2 24"/>
                  <p:cNvCxnSpPr/>
                  <p:nvPr/>
                </p:nvCxnSpPr>
                <p:spPr bwMode="auto">
                  <a:xfrm>
                    <a:off x="3120129" y="2379933"/>
                    <a:ext cx="1509700"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sp>
              <p:nvSpPr>
                <p:cNvPr id="44" name="Ovale 43"/>
                <p:cNvSpPr/>
                <p:nvPr/>
              </p:nvSpPr>
              <p:spPr bwMode="auto">
                <a:xfrm>
                  <a:off x="6318504" y="3226774"/>
                  <a:ext cx="252028" cy="216024"/>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nvGrpSpPr>
              <p:cNvPr id="2" name="Gruppo 1"/>
              <p:cNvGrpSpPr/>
              <p:nvPr/>
            </p:nvGrpSpPr>
            <p:grpSpPr>
              <a:xfrm>
                <a:off x="3807608" y="2012557"/>
                <a:ext cx="2259943" cy="2911994"/>
                <a:chOff x="3807608" y="2012557"/>
                <a:chExt cx="2259943" cy="2911994"/>
              </a:xfrm>
            </p:grpSpPr>
            <p:sp>
              <p:nvSpPr>
                <p:cNvPr id="34825" name="Ovale 34824"/>
                <p:cNvSpPr/>
                <p:nvPr/>
              </p:nvSpPr>
              <p:spPr bwMode="auto">
                <a:xfrm>
                  <a:off x="3807608" y="2012557"/>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2031" dirty="0">
                      <a:solidFill>
                        <a:schemeClr val="bg1"/>
                      </a:solidFill>
                      <a:latin typeface="Arial" charset="0"/>
                    </a:rPr>
                    <a:t> </a:t>
                  </a:r>
                </a:p>
              </p:txBody>
            </p:sp>
            <p:sp>
              <p:nvSpPr>
                <p:cNvPr id="43" name="Ovale 42"/>
                <p:cNvSpPr/>
                <p:nvPr/>
              </p:nvSpPr>
              <p:spPr bwMode="auto">
                <a:xfrm>
                  <a:off x="3840842" y="2675642"/>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5" name="Ovale 44"/>
                <p:cNvSpPr/>
                <p:nvPr/>
              </p:nvSpPr>
              <p:spPr bwMode="auto">
                <a:xfrm>
                  <a:off x="5820117" y="4050076"/>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6" name="Ovale 45"/>
                <p:cNvSpPr/>
                <p:nvPr/>
              </p:nvSpPr>
              <p:spPr bwMode="auto">
                <a:xfrm>
                  <a:off x="5834910" y="4725144"/>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grpSp>
      <p:sp>
        <p:nvSpPr>
          <p:cNvPr id="34834" name="Rettangolo 34833"/>
          <p:cNvSpPr/>
          <p:nvPr/>
        </p:nvSpPr>
        <p:spPr bwMode="auto">
          <a:xfrm>
            <a:off x="185051" y="1780014"/>
            <a:ext cx="332345" cy="178192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1</a:t>
            </a:r>
          </a:p>
        </p:txBody>
      </p:sp>
      <p:sp>
        <p:nvSpPr>
          <p:cNvPr id="56" name="Rettangolo 55"/>
          <p:cNvSpPr/>
          <p:nvPr/>
        </p:nvSpPr>
        <p:spPr bwMode="auto">
          <a:xfrm>
            <a:off x="185051" y="3694876"/>
            <a:ext cx="332345" cy="1395847"/>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2</a:t>
            </a:r>
          </a:p>
        </p:txBody>
      </p:sp>
      <p:sp>
        <p:nvSpPr>
          <p:cNvPr id="57" name="Rettangolo 56"/>
          <p:cNvSpPr/>
          <p:nvPr/>
        </p:nvSpPr>
        <p:spPr bwMode="auto">
          <a:xfrm>
            <a:off x="185051" y="5157192"/>
            <a:ext cx="332345" cy="99703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3</a:t>
            </a:r>
          </a:p>
        </p:txBody>
      </p:sp>
      <p:sp>
        <p:nvSpPr>
          <p:cNvPr id="28" name="Rettangolo 2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3)  </a:t>
            </a:r>
            <a:r>
              <a:rPr lang="it-IT" dirty="0"/>
              <a:t/>
            </a:r>
            <a:br>
              <a:rPr lang="it-IT" dirty="0"/>
            </a:br>
            <a:endParaRPr lang="it-IT" dirty="0"/>
          </a:p>
        </p:txBody>
      </p:sp>
    </p:spTree>
    <p:extLst>
      <p:ext uri="{BB962C8B-B14F-4D97-AF65-F5344CB8AC3E}">
        <p14:creationId xmlns:p14="http://schemas.microsoft.com/office/powerpoint/2010/main" val="4230014271"/>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o 4"/>
          <p:cNvGrpSpPr>
            <a:grpSpLocks/>
          </p:cNvGrpSpPr>
          <p:nvPr/>
        </p:nvGrpSpPr>
        <p:grpSpPr bwMode="auto">
          <a:xfrm>
            <a:off x="-5248" y="214968"/>
            <a:ext cx="9144000" cy="586409"/>
            <a:chOff x="45253" y="-36513"/>
            <a:chExt cx="9143999" cy="877993"/>
          </a:xfrm>
        </p:grpSpPr>
        <p:pic>
          <p:nvPicPr>
            <p:cNvPr id="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4688" t="21562" r="5663" b="66251"/>
            <a:stretch>
              <a:fillRect/>
            </a:stretch>
          </p:blipFill>
          <p:spPr bwMode="auto">
            <a:xfrm>
              <a:off x="45253" y="-16351"/>
              <a:ext cx="9143999" cy="85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5" descr="jau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3731" y="0"/>
              <a:ext cx="8001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7" descr="stellon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7704" y="-36513"/>
              <a:ext cx="5334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Logo_POFes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7784" y="0"/>
              <a:ext cx="827088"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 name="Rettangolo 50"/>
          <p:cNvSpPr/>
          <p:nvPr/>
        </p:nvSpPr>
        <p:spPr>
          <a:xfrm>
            <a:off x="2200938" y="1258205"/>
            <a:ext cx="5171154" cy="433196"/>
          </a:xfrm>
          <a:prstGeom prst="rect">
            <a:avLst/>
          </a:prstGeom>
        </p:spPr>
        <p:txBody>
          <a:bodyPr wrap="square">
            <a:spAutoFit/>
          </a:bodyPr>
          <a:lstStyle/>
          <a:p>
            <a:pPr algn="ctr"/>
            <a:r>
              <a:rPr lang="it-IT" sz="2215" b="1" dirty="0">
                <a:solidFill>
                  <a:schemeClr val="accent2"/>
                </a:solidFill>
                <a:effectLst>
                  <a:outerShdw blurRad="38100" dist="38100" dir="2700000" algn="tl">
                    <a:srgbClr val="C0C0C0"/>
                  </a:outerShdw>
                </a:effectLst>
                <a:latin typeface="Neo Sans Std Medium" pitchFamily="34" charset="0"/>
              </a:rPr>
              <a:t>Gli Strumenti del  Policy Mix ...</a:t>
            </a:r>
          </a:p>
        </p:txBody>
      </p:sp>
      <p:graphicFrame>
        <p:nvGraphicFramePr>
          <p:cNvPr id="109" name="Diagramma 108"/>
          <p:cNvGraphicFramePr/>
          <p:nvPr>
            <p:extLst/>
          </p:nvPr>
        </p:nvGraphicFramePr>
        <p:xfrm>
          <a:off x="71535" y="2661926"/>
          <a:ext cx="2319068" cy="7670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4" name="Gruppo 113"/>
          <p:cNvGrpSpPr/>
          <p:nvPr/>
        </p:nvGrpSpPr>
        <p:grpSpPr>
          <a:xfrm>
            <a:off x="4211960" y="1691401"/>
            <a:ext cx="801225" cy="801225"/>
            <a:chOff x="5313040" y="1959577"/>
            <a:chExt cx="867994" cy="867994"/>
          </a:xfrm>
        </p:grpSpPr>
        <p:sp>
          <p:nvSpPr>
            <p:cNvPr id="112" name="Oval 45"/>
            <p:cNvSpPr/>
            <p:nvPr/>
          </p:nvSpPr>
          <p:spPr>
            <a:xfrm>
              <a:off x="5313040" y="1959577"/>
              <a:ext cx="867994" cy="867994"/>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62"/>
            </a:p>
          </p:txBody>
        </p:sp>
        <p:sp>
          <p:nvSpPr>
            <p:cNvPr id="110" name="Freeform 10"/>
            <p:cNvSpPr>
              <a:spLocks noEditPoints="1"/>
            </p:cNvSpPr>
            <p:nvPr/>
          </p:nvSpPr>
          <p:spPr bwMode="auto">
            <a:xfrm>
              <a:off x="5547674" y="2195293"/>
              <a:ext cx="398726" cy="396562"/>
            </a:xfrm>
            <a:custGeom>
              <a:avLst/>
              <a:gdLst/>
              <a:ahLst/>
              <a:cxnLst>
                <a:cxn ang="0">
                  <a:pos x="24" y="31"/>
                </a:cxn>
                <a:cxn ang="0">
                  <a:pos x="4" y="11"/>
                </a:cxn>
                <a:cxn ang="0">
                  <a:pos x="4" y="8"/>
                </a:cxn>
                <a:cxn ang="0">
                  <a:pos x="6" y="8"/>
                </a:cxn>
                <a:cxn ang="0">
                  <a:pos x="26" y="28"/>
                </a:cxn>
                <a:cxn ang="0">
                  <a:pos x="28" y="27"/>
                </a:cxn>
                <a:cxn ang="0">
                  <a:pos x="8" y="7"/>
                </a:cxn>
                <a:cxn ang="0">
                  <a:pos x="8" y="4"/>
                </a:cxn>
                <a:cxn ang="0">
                  <a:pos x="10" y="4"/>
                </a:cxn>
                <a:cxn ang="0">
                  <a:pos x="31" y="24"/>
                </a:cxn>
                <a:cxn ang="0">
                  <a:pos x="33" y="22"/>
                </a:cxn>
                <a:cxn ang="0">
                  <a:pos x="14" y="3"/>
                </a:cxn>
                <a:cxn ang="0">
                  <a:pos x="4" y="4"/>
                </a:cxn>
                <a:cxn ang="0">
                  <a:pos x="3" y="13"/>
                </a:cxn>
                <a:cxn ang="0">
                  <a:pos x="22" y="33"/>
                </a:cxn>
                <a:cxn ang="0">
                  <a:pos x="24" y="31"/>
                </a:cxn>
                <a:cxn ang="0">
                  <a:pos x="71" y="67"/>
                </a:cxn>
                <a:cxn ang="0">
                  <a:pos x="65" y="59"/>
                </a:cxn>
                <a:cxn ang="0">
                  <a:pos x="63" y="59"/>
                </a:cxn>
                <a:cxn ang="0">
                  <a:pos x="63" y="59"/>
                </a:cxn>
                <a:cxn ang="0">
                  <a:pos x="46" y="42"/>
                </a:cxn>
                <a:cxn ang="0">
                  <a:pos x="42" y="46"/>
                </a:cxn>
                <a:cxn ang="0">
                  <a:pos x="59" y="63"/>
                </a:cxn>
                <a:cxn ang="0">
                  <a:pos x="60" y="63"/>
                </a:cxn>
                <a:cxn ang="0">
                  <a:pos x="59" y="65"/>
                </a:cxn>
                <a:cxn ang="0">
                  <a:pos x="67" y="70"/>
                </a:cxn>
                <a:cxn ang="0">
                  <a:pos x="69" y="69"/>
                </a:cxn>
                <a:cxn ang="0">
                  <a:pos x="71" y="67"/>
                </a:cxn>
                <a:cxn ang="0">
                  <a:pos x="51" y="34"/>
                </a:cxn>
                <a:cxn ang="0">
                  <a:pos x="64" y="30"/>
                </a:cxn>
                <a:cxn ang="0">
                  <a:pos x="66" y="11"/>
                </a:cxn>
                <a:cxn ang="0">
                  <a:pos x="55" y="22"/>
                </a:cxn>
                <a:cxn ang="0">
                  <a:pos x="50" y="17"/>
                </a:cxn>
                <a:cxn ang="0">
                  <a:pos x="61" y="6"/>
                </a:cxn>
                <a:cxn ang="0">
                  <a:pos x="42" y="8"/>
                </a:cxn>
                <a:cxn ang="0">
                  <a:pos x="38" y="21"/>
                </a:cxn>
                <a:cxn ang="0">
                  <a:pos x="36" y="22"/>
                </a:cxn>
                <a:cxn ang="0">
                  <a:pos x="6" y="52"/>
                </a:cxn>
                <a:cxn ang="0">
                  <a:pos x="6" y="65"/>
                </a:cxn>
                <a:cxn ang="0">
                  <a:pos x="20" y="65"/>
                </a:cxn>
                <a:cxn ang="0">
                  <a:pos x="49" y="36"/>
                </a:cxn>
                <a:cxn ang="0">
                  <a:pos x="51" y="34"/>
                </a:cxn>
                <a:cxn ang="0">
                  <a:pos x="16" y="60"/>
                </a:cxn>
                <a:cxn ang="0">
                  <a:pos x="12" y="60"/>
                </a:cxn>
                <a:cxn ang="0">
                  <a:pos x="12" y="55"/>
                </a:cxn>
                <a:cxn ang="0">
                  <a:pos x="16" y="55"/>
                </a:cxn>
                <a:cxn ang="0">
                  <a:pos x="16" y="60"/>
                </a:cxn>
              </a:cxnLst>
              <a:rect l="0" t="0" r="r" b="b"/>
              <a:pathLst>
                <a:path w="71" h="71">
                  <a:moveTo>
                    <a:pt x="24" y="31"/>
                  </a:moveTo>
                  <a:cubicBezTo>
                    <a:pt x="4" y="11"/>
                    <a:pt x="4" y="11"/>
                    <a:pt x="4" y="11"/>
                  </a:cubicBezTo>
                  <a:cubicBezTo>
                    <a:pt x="3" y="10"/>
                    <a:pt x="3" y="9"/>
                    <a:pt x="4" y="8"/>
                  </a:cubicBezTo>
                  <a:cubicBezTo>
                    <a:pt x="4" y="7"/>
                    <a:pt x="6" y="7"/>
                    <a:pt x="6" y="8"/>
                  </a:cubicBezTo>
                  <a:cubicBezTo>
                    <a:pt x="26" y="28"/>
                    <a:pt x="26" y="28"/>
                    <a:pt x="26" y="28"/>
                  </a:cubicBezTo>
                  <a:cubicBezTo>
                    <a:pt x="28" y="27"/>
                    <a:pt x="28" y="27"/>
                    <a:pt x="28" y="27"/>
                  </a:cubicBezTo>
                  <a:cubicBezTo>
                    <a:pt x="8" y="7"/>
                    <a:pt x="8" y="7"/>
                    <a:pt x="8" y="7"/>
                  </a:cubicBezTo>
                  <a:cubicBezTo>
                    <a:pt x="7" y="6"/>
                    <a:pt x="7" y="5"/>
                    <a:pt x="8" y="4"/>
                  </a:cubicBezTo>
                  <a:cubicBezTo>
                    <a:pt x="9" y="3"/>
                    <a:pt x="10" y="3"/>
                    <a:pt x="10" y="4"/>
                  </a:cubicBezTo>
                  <a:cubicBezTo>
                    <a:pt x="31" y="24"/>
                    <a:pt x="31" y="24"/>
                    <a:pt x="31" y="24"/>
                  </a:cubicBezTo>
                  <a:cubicBezTo>
                    <a:pt x="33" y="22"/>
                    <a:pt x="33" y="22"/>
                    <a:pt x="33" y="22"/>
                  </a:cubicBezTo>
                  <a:cubicBezTo>
                    <a:pt x="14" y="3"/>
                    <a:pt x="14" y="3"/>
                    <a:pt x="14" y="3"/>
                  </a:cubicBezTo>
                  <a:cubicBezTo>
                    <a:pt x="11" y="0"/>
                    <a:pt x="7" y="1"/>
                    <a:pt x="4" y="4"/>
                  </a:cubicBezTo>
                  <a:cubicBezTo>
                    <a:pt x="1" y="7"/>
                    <a:pt x="0" y="11"/>
                    <a:pt x="3" y="13"/>
                  </a:cubicBezTo>
                  <a:cubicBezTo>
                    <a:pt x="22" y="33"/>
                    <a:pt x="22" y="33"/>
                    <a:pt x="22" y="33"/>
                  </a:cubicBezTo>
                  <a:lnTo>
                    <a:pt x="24" y="31"/>
                  </a:lnTo>
                  <a:close/>
                  <a:moveTo>
                    <a:pt x="71" y="67"/>
                  </a:moveTo>
                  <a:cubicBezTo>
                    <a:pt x="65" y="59"/>
                    <a:pt x="65" y="59"/>
                    <a:pt x="65" y="59"/>
                  </a:cubicBezTo>
                  <a:cubicBezTo>
                    <a:pt x="65" y="58"/>
                    <a:pt x="64" y="59"/>
                    <a:pt x="63" y="59"/>
                  </a:cubicBezTo>
                  <a:cubicBezTo>
                    <a:pt x="63" y="59"/>
                    <a:pt x="63" y="59"/>
                    <a:pt x="63" y="59"/>
                  </a:cubicBezTo>
                  <a:cubicBezTo>
                    <a:pt x="46" y="42"/>
                    <a:pt x="46" y="42"/>
                    <a:pt x="46" y="42"/>
                  </a:cubicBezTo>
                  <a:cubicBezTo>
                    <a:pt x="42" y="46"/>
                    <a:pt x="42" y="46"/>
                    <a:pt x="42" y="46"/>
                  </a:cubicBezTo>
                  <a:cubicBezTo>
                    <a:pt x="59" y="63"/>
                    <a:pt x="59" y="63"/>
                    <a:pt x="59" y="63"/>
                  </a:cubicBezTo>
                  <a:cubicBezTo>
                    <a:pt x="59" y="63"/>
                    <a:pt x="59" y="63"/>
                    <a:pt x="60" y="63"/>
                  </a:cubicBezTo>
                  <a:cubicBezTo>
                    <a:pt x="59" y="64"/>
                    <a:pt x="59" y="65"/>
                    <a:pt x="59" y="65"/>
                  </a:cubicBezTo>
                  <a:cubicBezTo>
                    <a:pt x="67" y="70"/>
                    <a:pt x="67" y="70"/>
                    <a:pt x="67" y="70"/>
                  </a:cubicBezTo>
                  <a:cubicBezTo>
                    <a:pt x="68" y="71"/>
                    <a:pt x="69" y="70"/>
                    <a:pt x="69" y="69"/>
                  </a:cubicBezTo>
                  <a:cubicBezTo>
                    <a:pt x="70" y="68"/>
                    <a:pt x="71" y="67"/>
                    <a:pt x="71" y="67"/>
                  </a:cubicBezTo>
                  <a:close/>
                  <a:moveTo>
                    <a:pt x="51" y="34"/>
                  </a:moveTo>
                  <a:cubicBezTo>
                    <a:pt x="55" y="35"/>
                    <a:pt x="60" y="33"/>
                    <a:pt x="64" y="30"/>
                  </a:cubicBezTo>
                  <a:cubicBezTo>
                    <a:pt x="69" y="25"/>
                    <a:pt x="70" y="17"/>
                    <a:pt x="66" y="11"/>
                  </a:cubicBezTo>
                  <a:cubicBezTo>
                    <a:pt x="55" y="22"/>
                    <a:pt x="55" y="22"/>
                    <a:pt x="55" y="22"/>
                  </a:cubicBezTo>
                  <a:cubicBezTo>
                    <a:pt x="50" y="17"/>
                    <a:pt x="50" y="17"/>
                    <a:pt x="50" y="17"/>
                  </a:cubicBezTo>
                  <a:cubicBezTo>
                    <a:pt x="61" y="6"/>
                    <a:pt x="61" y="6"/>
                    <a:pt x="61" y="6"/>
                  </a:cubicBezTo>
                  <a:cubicBezTo>
                    <a:pt x="55" y="2"/>
                    <a:pt x="47" y="3"/>
                    <a:pt x="42" y="8"/>
                  </a:cubicBezTo>
                  <a:cubicBezTo>
                    <a:pt x="39" y="11"/>
                    <a:pt x="37" y="16"/>
                    <a:pt x="38" y="21"/>
                  </a:cubicBezTo>
                  <a:cubicBezTo>
                    <a:pt x="37" y="21"/>
                    <a:pt x="36" y="22"/>
                    <a:pt x="36" y="22"/>
                  </a:cubicBezTo>
                  <a:cubicBezTo>
                    <a:pt x="6" y="52"/>
                    <a:pt x="6" y="52"/>
                    <a:pt x="6" y="52"/>
                  </a:cubicBezTo>
                  <a:cubicBezTo>
                    <a:pt x="3" y="55"/>
                    <a:pt x="3" y="62"/>
                    <a:pt x="6" y="65"/>
                  </a:cubicBezTo>
                  <a:cubicBezTo>
                    <a:pt x="10" y="69"/>
                    <a:pt x="16" y="69"/>
                    <a:pt x="20" y="65"/>
                  </a:cubicBezTo>
                  <a:cubicBezTo>
                    <a:pt x="49" y="36"/>
                    <a:pt x="49" y="36"/>
                    <a:pt x="49" y="36"/>
                  </a:cubicBezTo>
                  <a:cubicBezTo>
                    <a:pt x="50" y="35"/>
                    <a:pt x="51" y="35"/>
                    <a:pt x="51" y="34"/>
                  </a:cubicBezTo>
                  <a:close/>
                  <a:moveTo>
                    <a:pt x="16" y="60"/>
                  </a:moveTo>
                  <a:cubicBezTo>
                    <a:pt x="15" y="61"/>
                    <a:pt x="13" y="61"/>
                    <a:pt x="12" y="60"/>
                  </a:cubicBezTo>
                  <a:cubicBezTo>
                    <a:pt x="11" y="59"/>
                    <a:pt x="11" y="57"/>
                    <a:pt x="12" y="55"/>
                  </a:cubicBezTo>
                  <a:cubicBezTo>
                    <a:pt x="13" y="54"/>
                    <a:pt x="15" y="54"/>
                    <a:pt x="16" y="55"/>
                  </a:cubicBezTo>
                  <a:cubicBezTo>
                    <a:pt x="18" y="57"/>
                    <a:pt x="18" y="59"/>
                    <a:pt x="16" y="60"/>
                  </a:cubicBezTo>
                  <a:close/>
                </a:path>
              </a:pathLst>
            </a:custGeom>
            <a:solidFill>
              <a:schemeClr val="bg1"/>
            </a:solidFill>
            <a:ln w="9525">
              <a:noFill/>
              <a:round/>
              <a:headEnd/>
              <a:tailEnd/>
            </a:ln>
            <a:effectLst/>
          </p:spPr>
          <p:txBody>
            <a:bodyPr vert="horz" wrap="square" lIns="84406" tIns="42203" rIns="84406" bIns="42203" numCol="1" anchor="t" anchorCtr="0" compatLnSpc="1">
              <a:prstTxWarp prst="textNoShape">
                <a:avLst/>
              </a:prstTxWarp>
            </a:bodyPr>
            <a:lstStyle/>
            <a:p>
              <a:endParaRPr lang="id-ID" sz="1662">
                <a:latin typeface="Calibri" charset="0"/>
                <a:ea typeface="ＭＳ Ｐゴシック" charset="0"/>
                <a:cs typeface="ＭＳ Ｐゴシック" charset="0"/>
              </a:endParaRPr>
            </a:p>
          </p:txBody>
        </p:sp>
      </p:grpSp>
      <p:graphicFrame>
        <p:nvGraphicFramePr>
          <p:cNvPr id="115" name="Diagramma 114"/>
          <p:cNvGraphicFramePr/>
          <p:nvPr>
            <p:extLst>
              <p:ext uri="{D42A27DB-BD31-4B8C-83A1-F6EECF244321}">
                <p14:modId xmlns:p14="http://schemas.microsoft.com/office/powerpoint/2010/main" val="2960415694"/>
              </p:ext>
            </p:extLst>
          </p:nvPr>
        </p:nvGraphicFramePr>
        <p:xfrm>
          <a:off x="101101" y="3500733"/>
          <a:ext cx="2324358" cy="65942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16" name="Diagramma 115"/>
          <p:cNvGraphicFramePr/>
          <p:nvPr>
            <p:extLst/>
          </p:nvPr>
        </p:nvGraphicFramePr>
        <p:xfrm>
          <a:off x="3109684" y="2459688"/>
          <a:ext cx="2510195" cy="76707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17" name="Diagramma 116"/>
          <p:cNvGraphicFramePr/>
          <p:nvPr>
            <p:extLst/>
          </p:nvPr>
        </p:nvGraphicFramePr>
        <p:xfrm>
          <a:off x="3109684" y="3113603"/>
          <a:ext cx="2518483" cy="767074"/>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18" name="Diagramma 117"/>
          <p:cNvGraphicFramePr/>
          <p:nvPr>
            <p:extLst/>
          </p:nvPr>
        </p:nvGraphicFramePr>
        <p:xfrm>
          <a:off x="6241059" y="1864299"/>
          <a:ext cx="2518483" cy="76707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19" name="Diagramma 118"/>
          <p:cNvGraphicFramePr/>
          <p:nvPr>
            <p:extLst/>
          </p:nvPr>
        </p:nvGraphicFramePr>
        <p:xfrm>
          <a:off x="6249347" y="2498436"/>
          <a:ext cx="2510195" cy="767074"/>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0" name="Diagramma 119"/>
          <p:cNvGraphicFramePr/>
          <p:nvPr>
            <p:extLst>
              <p:ext uri="{D42A27DB-BD31-4B8C-83A1-F6EECF244321}">
                <p14:modId xmlns:p14="http://schemas.microsoft.com/office/powerpoint/2010/main" val="201839667"/>
              </p:ext>
            </p:extLst>
          </p:nvPr>
        </p:nvGraphicFramePr>
        <p:xfrm>
          <a:off x="8182" y="4190712"/>
          <a:ext cx="2702688" cy="767074"/>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121" name="Diagramma 120"/>
          <p:cNvGraphicFramePr/>
          <p:nvPr>
            <p:extLst>
              <p:ext uri="{D42A27DB-BD31-4B8C-83A1-F6EECF244321}">
                <p14:modId xmlns:p14="http://schemas.microsoft.com/office/powerpoint/2010/main" val="4084386465"/>
              </p:ext>
            </p:extLst>
          </p:nvPr>
        </p:nvGraphicFramePr>
        <p:xfrm>
          <a:off x="6249347" y="3229594"/>
          <a:ext cx="2510195" cy="767074"/>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22" name="Diagramma 121"/>
          <p:cNvGraphicFramePr/>
          <p:nvPr>
            <p:extLst/>
          </p:nvPr>
        </p:nvGraphicFramePr>
        <p:xfrm>
          <a:off x="3109684" y="3827814"/>
          <a:ext cx="2518483" cy="767074"/>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graphicFrame>
        <p:nvGraphicFramePr>
          <p:cNvPr id="123" name="Diagramma 122"/>
          <p:cNvGraphicFramePr/>
          <p:nvPr>
            <p:extLst/>
          </p:nvPr>
        </p:nvGraphicFramePr>
        <p:xfrm>
          <a:off x="3109684" y="4492503"/>
          <a:ext cx="2518483" cy="767074"/>
        </p:xfrm>
        <a:graphic>
          <a:graphicData uri="http://schemas.openxmlformats.org/drawingml/2006/diagram">
            <dgm:relIds xmlns:dgm="http://schemas.openxmlformats.org/drawingml/2006/diagram" xmlns:r="http://schemas.openxmlformats.org/officeDocument/2006/relationships" r:dm="rId52" r:lo="rId53" r:qs="rId54" r:cs="rId55"/>
          </a:graphicData>
        </a:graphic>
      </p:graphicFrame>
      <p:graphicFrame>
        <p:nvGraphicFramePr>
          <p:cNvPr id="124" name="Diagramma 123"/>
          <p:cNvGraphicFramePr/>
          <p:nvPr>
            <p:extLst/>
          </p:nvPr>
        </p:nvGraphicFramePr>
        <p:xfrm>
          <a:off x="6249347" y="4027221"/>
          <a:ext cx="2510195" cy="767074"/>
        </p:xfrm>
        <a:graphic>
          <a:graphicData uri="http://schemas.openxmlformats.org/drawingml/2006/diagram">
            <dgm:relIds xmlns:dgm="http://schemas.openxmlformats.org/drawingml/2006/diagram" xmlns:r="http://schemas.openxmlformats.org/officeDocument/2006/relationships" r:dm="rId57" r:lo="rId58" r:qs="rId59" r:cs="rId60"/>
          </a:graphicData>
        </a:graphic>
      </p:graphicFrame>
      <p:graphicFrame>
        <p:nvGraphicFramePr>
          <p:cNvPr id="125" name="Diagramma 124"/>
          <p:cNvGraphicFramePr/>
          <p:nvPr>
            <p:extLst/>
          </p:nvPr>
        </p:nvGraphicFramePr>
        <p:xfrm>
          <a:off x="67088" y="1997237"/>
          <a:ext cx="2510195" cy="767074"/>
        </p:xfrm>
        <a:graphic>
          <a:graphicData uri="http://schemas.openxmlformats.org/drawingml/2006/diagram">
            <dgm:relIds xmlns:dgm="http://schemas.openxmlformats.org/drawingml/2006/diagram" xmlns:r="http://schemas.openxmlformats.org/officeDocument/2006/relationships" r:dm="rId62" r:lo="rId63" r:qs="rId64" r:cs="rId65"/>
          </a:graphicData>
        </a:graphic>
      </p:graphicFrame>
      <p:graphicFrame>
        <p:nvGraphicFramePr>
          <p:cNvPr id="126" name="Diagramma 125"/>
          <p:cNvGraphicFramePr/>
          <p:nvPr>
            <p:extLst/>
          </p:nvPr>
        </p:nvGraphicFramePr>
        <p:xfrm>
          <a:off x="8182" y="4988339"/>
          <a:ext cx="2510195" cy="767074"/>
        </p:xfrm>
        <a:graphic>
          <a:graphicData uri="http://schemas.openxmlformats.org/drawingml/2006/diagram">
            <dgm:relIds xmlns:dgm="http://schemas.openxmlformats.org/drawingml/2006/diagram" xmlns:r="http://schemas.openxmlformats.org/officeDocument/2006/relationships" r:dm="rId67" r:lo="rId68" r:qs="rId69" r:cs="rId70"/>
          </a:graphicData>
        </a:graphic>
      </p:graphicFrame>
      <p:graphicFrame>
        <p:nvGraphicFramePr>
          <p:cNvPr id="127" name="Diagramma 126"/>
          <p:cNvGraphicFramePr/>
          <p:nvPr>
            <p:extLst/>
          </p:nvPr>
        </p:nvGraphicFramePr>
        <p:xfrm>
          <a:off x="3109684" y="5024255"/>
          <a:ext cx="2510195" cy="767074"/>
        </p:xfrm>
        <a:graphic>
          <a:graphicData uri="http://schemas.openxmlformats.org/drawingml/2006/diagram">
            <dgm:relIds xmlns:dgm="http://schemas.openxmlformats.org/drawingml/2006/diagram" xmlns:r="http://schemas.openxmlformats.org/officeDocument/2006/relationships" r:dm="rId72" r:lo="rId73" r:qs="rId74" r:cs="rId75"/>
          </a:graphicData>
        </a:graphic>
      </p:graphicFrame>
      <p:graphicFrame>
        <p:nvGraphicFramePr>
          <p:cNvPr id="128" name="Diagramma 127"/>
          <p:cNvGraphicFramePr/>
          <p:nvPr>
            <p:extLst/>
          </p:nvPr>
        </p:nvGraphicFramePr>
        <p:xfrm>
          <a:off x="6233723" y="4691910"/>
          <a:ext cx="2592288" cy="767074"/>
        </p:xfrm>
        <a:graphic>
          <a:graphicData uri="http://schemas.openxmlformats.org/drawingml/2006/diagram">
            <dgm:relIds xmlns:dgm="http://schemas.openxmlformats.org/drawingml/2006/diagram" xmlns:r="http://schemas.openxmlformats.org/officeDocument/2006/relationships" r:dm="rId77" r:lo="rId78" r:qs="rId79" r:cs="rId80"/>
          </a:graphicData>
        </a:graphic>
      </p:graphicFrame>
      <p:graphicFrame>
        <p:nvGraphicFramePr>
          <p:cNvPr id="129" name="Diagramma 128"/>
          <p:cNvGraphicFramePr/>
          <p:nvPr>
            <p:extLst/>
          </p:nvPr>
        </p:nvGraphicFramePr>
        <p:xfrm>
          <a:off x="6233723" y="5423068"/>
          <a:ext cx="2592288" cy="767074"/>
        </p:xfrm>
        <a:graphic>
          <a:graphicData uri="http://schemas.openxmlformats.org/drawingml/2006/diagram">
            <dgm:relIds xmlns:dgm="http://schemas.openxmlformats.org/drawingml/2006/diagram" xmlns:r="http://schemas.openxmlformats.org/officeDocument/2006/relationships" r:dm="rId82" r:lo="rId83" r:qs="rId84" r:cs="rId85"/>
          </a:graphicData>
        </a:graphic>
      </p:graphicFrame>
      <p:sp>
        <p:nvSpPr>
          <p:cNvPr id="28" name="Rettangolo 27"/>
          <p:cNvSpPr/>
          <p:nvPr/>
        </p:nvSpPr>
        <p:spPr>
          <a:xfrm>
            <a:off x="0" y="812431"/>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4)  </a:t>
            </a:r>
            <a:r>
              <a:rPr lang="it-IT" dirty="0"/>
              <a:t/>
            </a:r>
            <a:br>
              <a:rPr lang="it-IT" dirty="0"/>
            </a:br>
            <a:endParaRPr lang="it-IT" dirty="0"/>
          </a:p>
        </p:txBody>
      </p:sp>
    </p:spTree>
    <p:extLst>
      <p:ext uri="{BB962C8B-B14F-4D97-AF65-F5344CB8AC3E}">
        <p14:creationId xmlns:p14="http://schemas.microsoft.com/office/powerpoint/2010/main" val="428611054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a 9"/>
          <p:cNvGraphicFramePr/>
          <p:nvPr>
            <p:extLst>
              <p:ext uri="{D42A27DB-BD31-4B8C-83A1-F6EECF244321}">
                <p14:modId xmlns:p14="http://schemas.microsoft.com/office/powerpoint/2010/main" val="801386469"/>
              </p:ext>
            </p:extLst>
          </p:nvPr>
        </p:nvGraphicFramePr>
        <p:xfrm>
          <a:off x="2898153" y="1340768"/>
          <a:ext cx="4053175" cy="369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Rettangolo 19"/>
          <p:cNvSpPr/>
          <p:nvPr/>
        </p:nvSpPr>
        <p:spPr>
          <a:xfrm>
            <a:off x="3059832" y="3789040"/>
            <a:ext cx="4248472" cy="1440160"/>
          </a:xfrm>
          <a:prstGeom prst="rect">
            <a:avLst/>
          </a:prstGeom>
        </p:spPr>
        <p:style>
          <a:lnRef idx="2">
            <a:schemeClr val="accent3"/>
          </a:lnRef>
          <a:fillRef idx="1">
            <a:schemeClr val="lt1"/>
          </a:fillRef>
          <a:effectRef idx="0">
            <a:schemeClr val="accent3"/>
          </a:effectRef>
          <a:fontRef idx="minor">
            <a:schemeClr val="dk1"/>
          </a:fontRef>
        </p:style>
        <p:txBody>
          <a:bodyPr spcFirstLastPara="0" vert="horz" wrap="square" lIns="45720" tIns="45720" rIns="45720" bIns="45720" numCol="1" spcCol="1270" anchor="t" anchorCtr="0">
            <a:noAutofit/>
          </a:bodyPr>
          <a:lstStyle/>
          <a:p>
            <a:pPr algn="just"/>
            <a:r>
              <a:rPr lang="it-IT" sz="1200" i="1" dirty="0"/>
              <a:t>Dei 12 ambiti tematici individuati dai tavoli nazionali (economia del mare, mobilità sostenibile, scienze della vita, beni culturali, chimica verde, </a:t>
            </a:r>
            <a:r>
              <a:rPr lang="it-IT" sz="1200" i="1" dirty="0" err="1"/>
              <a:t>smart</a:t>
            </a:r>
            <a:r>
              <a:rPr lang="it-IT" sz="1200" i="1" dirty="0"/>
              <a:t> cities and </a:t>
            </a:r>
            <a:r>
              <a:rPr lang="it-IT" sz="1200" i="1" dirty="0" err="1"/>
              <a:t>communities</a:t>
            </a:r>
            <a:r>
              <a:rPr lang="it-IT" sz="1200" i="1" dirty="0"/>
              <a:t>, tecnologie per gli ambienti di vita, </a:t>
            </a:r>
            <a:r>
              <a:rPr lang="it-IT" sz="1200" i="1" dirty="0" err="1"/>
              <a:t>agrifood</a:t>
            </a:r>
            <a:r>
              <a:rPr lang="it-IT" sz="1200" i="1" dirty="0"/>
              <a:t>, energia, innovazione non basata su ricerca e sviluppo, fabbrica intelligente e aerospazio) sono stati ricondotti all’interno del tavolo denominato </a:t>
            </a:r>
            <a:r>
              <a:rPr lang="it-IT" sz="1200" b="1" i="1" dirty="0"/>
              <a:t>“Energia”, </a:t>
            </a:r>
            <a:r>
              <a:rPr lang="it-IT" sz="1200" i="1" dirty="0"/>
              <a:t>gli ambiti: </a:t>
            </a:r>
            <a:r>
              <a:rPr lang="it-IT" sz="1200" b="1" i="1" dirty="0"/>
              <a:t>energia, chimica verde, tecnologie per gli ambienti di vita </a:t>
            </a:r>
            <a:endParaRPr lang="it-IT" sz="1200" i="1" dirty="0"/>
          </a:p>
        </p:txBody>
      </p:sp>
      <p:pic>
        <p:nvPicPr>
          <p:cNvPr id="12" name="Diagramma 1"/>
          <p:cNvPicPr/>
          <p:nvPr/>
        </p:nvPicPr>
        <p:blipFill>
          <a:blip r:embed="rId8">
            <a:extLst>
              <a:ext uri="{28A0092B-C50C-407E-A947-70E740481C1C}">
                <a14:useLocalDpi xmlns:a14="http://schemas.microsoft.com/office/drawing/2010/main" val="0"/>
              </a:ext>
            </a:extLst>
          </a:blip>
          <a:srcRect l="-2130" t="68799" r="-1434"/>
          <a:stretch>
            <a:fillRect/>
          </a:stretch>
        </p:blipFill>
        <p:spPr bwMode="auto">
          <a:xfrm>
            <a:off x="2769414" y="1988840"/>
            <a:ext cx="4250858" cy="1310640"/>
          </a:xfrm>
          <a:prstGeom prst="rect">
            <a:avLst/>
          </a:prstGeom>
          <a:noFill/>
        </p:spPr>
      </p:pic>
    </p:spTree>
    <p:extLst>
      <p:ext uri="{BB962C8B-B14F-4D97-AF65-F5344CB8AC3E}">
        <p14:creationId xmlns:p14="http://schemas.microsoft.com/office/powerpoint/2010/main" val="332310317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2106270520"/>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a 7"/>
          <p:cNvGraphicFramePr/>
          <p:nvPr>
            <p:extLst>
              <p:ext uri="{D42A27DB-BD31-4B8C-83A1-F6EECF244321}">
                <p14:modId xmlns:p14="http://schemas.microsoft.com/office/powerpoint/2010/main" val="2398164990"/>
              </p:ext>
            </p:extLst>
          </p:nvPr>
        </p:nvGraphicFramePr>
        <p:xfrm>
          <a:off x="251520" y="1988840"/>
          <a:ext cx="5832648" cy="30963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ettangolo 10"/>
          <p:cNvSpPr/>
          <p:nvPr/>
        </p:nvSpPr>
        <p:spPr>
          <a:xfrm>
            <a:off x="4669613" y="6165304"/>
            <a:ext cx="3218509" cy="400110"/>
          </a:xfrm>
          <a:prstGeom prst="rect">
            <a:avLst/>
          </a:prstGeom>
          <a:noFill/>
        </p:spPr>
        <p:txBody>
          <a:bodyPr wrap="none" lIns="91440" tIns="45720" rIns="91440" bIns="45720">
            <a:spAutoFit/>
          </a:bodyPr>
          <a:lstStyle/>
          <a:p>
            <a:pPr algn="ctr"/>
            <a:r>
              <a:rPr lang="it-IT" sz="20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ggiornato </a:t>
            </a:r>
            <a:r>
              <a:rPr lang="it-IT" sz="20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l</a:t>
            </a:r>
            <a:r>
              <a:rPr lang="it-IT" sz="20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7 maggio 2014</a:t>
            </a:r>
            <a:endParaRPr lang="it-IT" sz="20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graphicFrame>
        <p:nvGraphicFramePr>
          <p:cNvPr id="2" name="Tabella 1"/>
          <p:cNvGraphicFramePr>
            <a:graphicFrameLocks noGrp="1"/>
          </p:cNvGraphicFramePr>
          <p:nvPr>
            <p:extLst>
              <p:ext uri="{D42A27DB-BD31-4B8C-83A1-F6EECF244321}">
                <p14:modId xmlns:p14="http://schemas.microsoft.com/office/powerpoint/2010/main" val="306473451"/>
              </p:ext>
            </p:extLst>
          </p:nvPr>
        </p:nvGraphicFramePr>
        <p:xfrm>
          <a:off x="6084168" y="2132856"/>
          <a:ext cx="2984500" cy="3810000"/>
        </p:xfrm>
        <a:graphic>
          <a:graphicData uri="http://schemas.openxmlformats.org/drawingml/2006/table">
            <a:tbl>
              <a:tblPr/>
              <a:tblGrid>
                <a:gridCol w="1880871"/>
                <a:gridCol w="622347"/>
                <a:gridCol w="481282"/>
              </a:tblGrid>
              <a:tr h="198120">
                <a:tc>
                  <a:txBody>
                    <a:bodyPr/>
                    <a:lstStyle/>
                    <a:p>
                      <a:pPr algn="l" fontAlgn="b"/>
                      <a:endParaRPr lang="it-IT" sz="1000" b="0" i="0" u="none" strike="noStrike">
                        <a:effectLst/>
                        <a:latin typeface="Arial" panose="020B0604020202020204" pitchFamily="34" charset="0"/>
                      </a:endParaRPr>
                    </a:p>
                  </a:txBody>
                  <a:tcPr marL="7620" marR="7620" marT="7620" marB="0" anchor="b">
                    <a:lnL>
                      <a:noFill/>
                    </a:lnL>
                    <a:lnR>
                      <a:noFill/>
                    </a:lnR>
                    <a:lnT>
                      <a:noFill/>
                    </a:lnT>
                    <a:lnB>
                      <a:noFill/>
                    </a:lnB>
                  </a:tcPr>
                </a:tc>
                <a:tc gridSpan="2">
                  <a:txBody>
                    <a:bodyPr/>
                    <a:lstStyle/>
                    <a:p>
                      <a:pPr algn="ctr" fontAlgn="b"/>
                      <a:r>
                        <a:rPr lang="it-IT" sz="1200" b="1" i="0" u="none" strike="noStrike">
                          <a:solidFill>
                            <a:srgbClr val="FFFFFF"/>
                          </a:solidFill>
                          <a:effectLst/>
                          <a:latin typeface="Arial" panose="020B0604020202020204" pitchFamily="34" charset="0"/>
                        </a:rPr>
                        <a:t>PARTECIPANTI</a:t>
                      </a:r>
                    </a:p>
                  </a:txBody>
                  <a:tcPr marL="7620" marR="7620" marT="7620" marB="0" anchor="b">
                    <a:lnL>
                      <a:noFill/>
                    </a:lnL>
                    <a:lnR>
                      <a:noFill/>
                    </a:lnR>
                    <a:lnT>
                      <a:noFill/>
                    </a:lnT>
                    <a:lnB w="6350" cap="flat" cmpd="sng" algn="ctr">
                      <a:solidFill>
                        <a:srgbClr val="ABABAB"/>
                      </a:solidFill>
                      <a:prstDash val="solid"/>
                      <a:round/>
                      <a:headEnd type="none" w="med" len="med"/>
                      <a:tailEnd type="none" w="med" len="med"/>
                    </a:lnB>
                    <a:solidFill>
                      <a:srgbClr val="ED7D31"/>
                    </a:solidFill>
                  </a:tcPr>
                </a:tc>
                <a:tc hMerge="1">
                  <a:txBody>
                    <a:bodyPr/>
                    <a:lstStyle/>
                    <a:p>
                      <a:endParaRPr lang="it-IT"/>
                    </a:p>
                  </a:txBody>
                  <a:tcPr/>
                </a:tc>
              </a:tr>
              <a:tr h="198120">
                <a:tc>
                  <a:txBody>
                    <a:bodyPr/>
                    <a:lstStyle/>
                    <a:p>
                      <a:pPr algn="ctr" fontAlgn="b"/>
                      <a:r>
                        <a:rPr lang="it-IT" sz="1200" b="1" i="0" u="none" strike="noStrike">
                          <a:solidFill>
                            <a:srgbClr val="FFFFFF"/>
                          </a:solidFill>
                          <a:effectLst/>
                          <a:latin typeface="Arial" panose="020B0604020202020204" pitchFamily="34" charset="0"/>
                        </a:rPr>
                        <a:t>TIPOLOGIA</a:t>
                      </a:r>
                    </a:p>
                  </a:txBody>
                  <a:tcPr marL="7620" marR="7620" marT="7620" marB="0" anchor="b">
                    <a:lnL>
                      <a:noFill/>
                    </a:lnL>
                    <a:lnR w="6350" cap="flat" cmpd="sng" algn="ctr">
                      <a:solidFill>
                        <a:srgbClr val="ABABAB"/>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N.</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BABAB"/>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a:t>
                      </a:r>
                    </a:p>
                  </a:txBody>
                  <a:tcPr marL="7620" marR="7620" marT="7620" marB="0"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ED7D31"/>
                    </a:solidFill>
                  </a:tcPr>
                </a:tc>
              </a:tr>
              <a:tr h="190500">
                <a:tc>
                  <a:txBody>
                    <a:bodyPr/>
                    <a:lstStyle/>
                    <a:p>
                      <a:pPr algn="l" fontAlgn="b"/>
                      <a:r>
                        <a:rPr lang="it-IT" sz="1000" b="0" i="0" u="none" strike="noStrike">
                          <a:solidFill>
                            <a:srgbClr val="000000"/>
                          </a:solidFill>
                          <a:effectLst/>
                          <a:latin typeface="Arial" panose="020B0604020202020204" pitchFamily="34" charset="0"/>
                        </a:rPr>
                        <a:t>IMPRES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38</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4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NR</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13%</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UNIVERSIT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9</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solidFill>
                            <a:srgbClr val="000000"/>
                          </a:solidFill>
                          <a:effectLst/>
                          <a:latin typeface="Arial" panose="020B0604020202020204" pitchFamily="34" charset="0"/>
                        </a:rPr>
                        <a:t>1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DISTRETTO</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6%</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ENE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REGIONE</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CENTRO SVILUPPO</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N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COMUNE </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INCUBATORE</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ANCE</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ENTRO RICERC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CITTADINO</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ESPERTO BREVETTI</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SINDACATO</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SVILUPPO ITALIA SICILIA</a:t>
                      </a:r>
                    </a:p>
                  </a:txBody>
                  <a:tcPr marL="114300" marR="7620" marT="762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FFFFFF"/>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200" b="1" i="0" u="none" strike="noStrike">
                          <a:solidFill>
                            <a:srgbClr val="FFFFFF"/>
                          </a:solidFill>
                          <a:effectLst/>
                          <a:latin typeface="Arial" panose="020B0604020202020204" pitchFamily="34" charset="0"/>
                        </a:rPr>
                        <a:t> </a:t>
                      </a:r>
                    </a:p>
                  </a:txBody>
                  <a:tcPr marL="11430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84</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D7D31"/>
                    </a:solidFill>
                  </a:tcPr>
                </a:tc>
                <a:tc>
                  <a:txBody>
                    <a:bodyPr/>
                    <a:lstStyle/>
                    <a:p>
                      <a:pPr algn="r" fontAlgn="b"/>
                      <a:r>
                        <a:rPr lang="it-IT" sz="1200" b="1" i="0" u="none" strike="noStrike" dirty="0">
                          <a:solidFill>
                            <a:srgbClr val="FFFFFF"/>
                          </a:solidFill>
                          <a:effectLst/>
                          <a:latin typeface="Arial" panose="020B0604020202020204" pitchFamily="34" charset="0"/>
                        </a:rPr>
                        <a:t>100%</a:t>
                      </a:r>
                    </a:p>
                  </a:txBody>
                  <a:tcPr marL="7620" marR="7620" marT="7620" marB="0" anchor="b">
                    <a:lnL w="6350" cap="flat" cmpd="sng" algn="ctr">
                      <a:solidFill>
                        <a:srgbClr val="ABABAB"/>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a:noFill/>
                    </a:lnB>
                    <a:solidFill>
                      <a:srgbClr val="ED7D31"/>
                    </a:solidFill>
                  </a:tcPr>
                </a:tc>
              </a:tr>
            </a:tbl>
          </a:graphicData>
        </a:graphic>
      </p:graphicFrame>
    </p:spTree>
    <p:extLst>
      <p:ext uri="{BB962C8B-B14F-4D97-AF65-F5344CB8AC3E}">
        <p14:creationId xmlns:p14="http://schemas.microsoft.com/office/powerpoint/2010/main" val="3435704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uppo 1"/>
          <p:cNvGrpSpPr/>
          <p:nvPr/>
        </p:nvGrpSpPr>
        <p:grpSpPr>
          <a:xfrm>
            <a:off x="755576" y="1700808"/>
            <a:ext cx="7632848" cy="4557219"/>
            <a:chOff x="179512" y="1173841"/>
            <a:chExt cx="8784976" cy="5279496"/>
          </a:xfrm>
        </p:grpSpPr>
        <p:graphicFrame>
          <p:nvGraphicFramePr>
            <p:cNvPr id="16" name="Diagramma 15"/>
            <p:cNvGraphicFramePr/>
            <p:nvPr>
              <p:extLst>
                <p:ext uri="{D42A27DB-BD31-4B8C-83A1-F6EECF244321}">
                  <p14:modId xmlns:p14="http://schemas.microsoft.com/office/powerpoint/2010/main" val="3185299711"/>
                </p:ext>
              </p:extLst>
            </p:nvPr>
          </p:nvGraphicFramePr>
          <p:xfrm>
            <a:off x="179512" y="1173842"/>
            <a:ext cx="2376264" cy="52794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ma 17"/>
            <p:cNvGraphicFramePr/>
            <p:nvPr>
              <p:extLst>
                <p:ext uri="{D42A27DB-BD31-4B8C-83A1-F6EECF244321}">
                  <p14:modId xmlns:p14="http://schemas.microsoft.com/office/powerpoint/2010/main" val="2442593036"/>
                </p:ext>
              </p:extLst>
            </p:nvPr>
          </p:nvGraphicFramePr>
          <p:xfrm>
            <a:off x="1979712" y="1173841"/>
            <a:ext cx="6984776" cy="518457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3" name="Rettangolo 2"/>
          <p:cNvSpPr/>
          <p:nvPr/>
        </p:nvSpPr>
        <p:spPr>
          <a:xfrm>
            <a:off x="2123728" y="6236731"/>
            <a:ext cx="6336704" cy="430887"/>
          </a:xfrm>
          <a:prstGeom prst="rect">
            <a:avLst/>
          </a:prstGeom>
        </p:spPr>
        <p:txBody>
          <a:bodyPr wrap="square">
            <a:spAutoFit/>
          </a:bodyPr>
          <a:lstStyle/>
          <a:p>
            <a:pPr lvl="0" algn="just"/>
            <a:r>
              <a:rPr lang="it-IT" sz="1100" b="1" dirty="0"/>
              <a:t>Cfr. Rapporto Energia 2013 a cura dell’Osservatorio Regionale e Ufficio Statistico per l’Energia- Dipartimento regionale dell’Energia.</a:t>
            </a:r>
          </a:p>
        </p:txBody>
      </p:sp>
    </p:spTree>
    <p:extLst>
      <p:ext uri="{BB962C8B-B14F-4D97-AF65-F5344CB8AC3E}">
        <p14:creationId xmlns:p14="http://schemas.microsoft.com/office/powerpoint/2010/main" val="36148921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ext uri="{D42A27DB-BD31-4B8C-83A1-F6EECF244321}">
                <p14:modId xmlns:p14="http://schemas.microsoft.com/office/powerpoint/2010/main" val="2259809287"/>
              </p:ext>
            </p:extLst>
          </p:nvPr>
        </p:nvGraphicFramePr>
        <p:xfrm>
          <a:off x="683568" y="1628800"/>
          <a:ext cx="7704856" cy="30963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ext uri="{D42A27DB-BD31-4B8C-83A1-F6EECF244321}">
                <p14:modId xmlns:p14="http://schemas.microsoft.com/office/powerpoint/2010/main" val="639675288"/>
              </p:ext>
            </p:extLst>
          </p:nvPr>
        </p:nvGraphicFramePr>
        <p:xfrm>
          <a:off x="683568" y="4365104"/>
          <a:ext cx="7704856" cy="203132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18443051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ext uri="{D42A27DB-BD31-4B8C-83A1-F6EECF244321}">
                <p14:modId xmlns:p14="http://schemas.microsoft.com/office/powerpoint/2010/main" val="2303711016"/>
              </p:ext>
            </p:extLst>
          </p:nvPr>
        </p:nvGraphicFramePr>
        <p:xfrm>
          <a:off x="1691680" y="1628800"/>
          <a:ext cx="6048672" cy="7200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4" name="Diagramma 3"/>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ext uri="{D42A27DB-BD31-4B8C-83A1-F6EECF244321}">
                <p14:modId xmlns:p14="http://schemas.microsoft.com/office/powerpoint/2010/main" val="2493030689"/>
              </p:ext>
            </p:extLst>
          </p:nvPr>
        </p:nvGraphicFramePr>
        <p:xfrm>
          <a:off x="1619672" y="3501008"/>
          <a:ext cx="6264696" cy="1152128"/>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110425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Diagramma 8"/>
          <p:cNvGraphicFramePr/>
          <p:nvPr>
            <p:extLst>
              <p:ext uri="{D42A27DB-BD31-4B8C-83A1-F6EECF244321}">
                <p14:modId xmlns:p14="http://schemas.microsoft.com/office/powerpoint/2010/main" val="3641535103"/>
              </p:ext>
            </p:extLst>
          </p:nvPr>
        </p:nvGraphicFramePr>
        <p:xfrm>
          <a:off x="323528" y="3140968"/>
          <a:ext cx="8640960" cy="288032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 name="Rettangolo 1"/>
          <p:cNvSpPr/>
          <p:nvPr/>
        </p:nvSpPr>
        <p:spPr>
          <a:xfrm>
            <a:off x="408328" y="1700808"/>
            <a:ext cx="8268127" cy="1077218"/>
          </a:xfrm>
          <a:prstGeom prst="rect">
            <a:avLst/>
          </a:prstGeom>
        </p:spPr>
        <p:txBody>
          <a:bodyPr wrap="square">
            <a:spAutoFit/>
          </a:bodyPr>
          <a:lstStyle/>
          <a:p>
            <a:pPr algn="just"/>
            <a:r>
              <a:rPr lang="it-IT" sz="1600" b="1" dirty="0"/>
              <a:t>Con riferimento agli Istituti di Ricerca, in Sicilia operano gli Istituti del CNR svolgendo  attività di ricerca e sviluppo nel settore energetico, ritengono strategico e fondamentale prevedere, all’interno della nuova programmazione, misure ed azioni a sostegno delle nuove tecnologie per energia da fonti rinnovabili e possono </a:t>
            </a:r>
            <a:r>
              <a:rPr lang="it-IT" sz="1600" b="1" dirty="0" smtClean="0"/>
              <a:t>contribuire </a:t>
            </a:r>
            <a:r>
              <a:rPr lang="it-IT" sz="1600" b="1" dirty="0"/>
              <a:t>nei seguenti campi: </a:t>
            </a:r>
          </a:p>
        </p:txBody>
      </p:sp>
    </p:spTree>
    <p:extLst>
      <p:ext uri="{BB962C8B-B14F-4D97-AF65-F5344CB8AC3E}">
        <p14:creationId xmlns:p14="http://schemas.microsoft.com/office/powerpoint/2010/main" val="3232682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3838455418"/>
              </p:ext>
            </p:extLst>
          </p:nvPr>
        </p:nvGraphicFramePr>
        <p:xfrm>
          <a:off x="539552" y="1628801"/>
          <a:ext cx="8064896" cy="4575256"/>
        </p:xfrm>
        <a:graphic>
          <a:graphicData uri="http://schemas.openxmlformats.org/drawingml/2006/table">
            <a:tbl>
              <a:tblPr firstRow="1" bandRow="1">
                <a:tableStyleId>{93296810-A885-4BE3-A3E7-6D5BEEA58F35}</a:tableStyleId>
              </a:tblPr>
              <a:tblGrid>
                <a:gridCol w="8064896"/>
              </a:tblGrid>
              <a:tr h="7101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dirty="0" smtClean="0"/>
                        <a:t>Competenze </a:t>
                      </a:r>
                      <a:r>
                        <a:rPr lang="it-IT" sz="1800" b="1" kern="1200" dirty="0" smtClean="0">
                          <a:solidFill>
                            <a:schemeClr val="lt1"/>
                          </a:solidFill>
                          <a:effectLst/>
                          <a:latin typeface="+mn-lt"/>
                          <a:ea typeface="+mn-ea"/>
                          <a:cs typeface="+mn-cs"/>
                        </a:rPr>
                        <a:t>del sistema produttivo </a:t>
                      </a:r>
                    </a:p>
                    <a:p>
                      <a:pPr marL="0" marR="0" indent="0" algn="l" defTabSz="914400" rtl="0" eaLnBrk="1" fontAlgn="auto" latinLnBrk="0" hangingPunct="1">
                        <a:lnSpc>
                          <a:spcPct val="100000"/>
                        </a:lnSpc>
                        <a:spcBef>
                          <a:spcPts val="0"/>
                        </a:spcBef>
                        <a:spcAft>
                          <a:spcPts val="0"/>
                        </a:spcAft>
                        <a:buClrTx/>
                        <a:buSzTx/>
                        <a:buFontTx/>
                        <a:buNone/>
                        <a:tabLst/>
                        <a:defRPr/>
                      </a:pPr>
                      <a:r>
                        <a:rPr lang="it-IT" sz="1400" b="1" i="1" kern="1200" dirty="0" smtClean="0">
                          <a:solidFill>
                            <a:srgbClr val="FFFF00"/>
                          </a:solidFill>
                          <a:effectLst/>
                          <a:latin typeface="+mn-lt"/>
                          <a:ea typeface="+mn-ea"/>
                          <a:cs typeface="+mn-cs"/>
                        </a:rPr>
                        <a:t>(acquisire dati su scoperte imprenditoriali, progetti di frontiera, progetti intersettoriali, ecc.)</a:t>
                      </a:r>
                      <a:endParaRPr lang="it-IT" sz="1400" b="1" kern="1200" dirty="0" smtClean="0">
                        <a:solidFill>
                          <a:srgbClr val="FFFF00"/>
                        </a:solidFill>
                        <a:effectLst/>
                        <a:latin typeface="+mn-lt"/>
                        <a:ea typeface="+mn-ea"/>
                        <a:cs typeface="+mn-cs"/>
                      </a:endParaRPr>
                    </a:p>
                  </a:txBody>
                  <a:tcPr/>
                </a:tc>
              </a:tr>
              <a:tr h="1068441">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Calibri"/>
                          <a:cs typeface="Times New Roman"/>
                        </a:rPr>
                        <a:t>1. </a:t>
                      </a:r>
                      <a:r>
                        <a:rPr lang="it-IT" sz="1200" b="1" i="1" kern="1200" dirty="0" smtClean="0">
                          <a:solidFill>
                            <a:schemeClr val="dk1"/>
                          </a:solidFill>
                          <a:effectLst/>
                          <a:latin typeface="+mn-lt"/>
                          <a:ea typeface="Calibri"/>
                          <a:cs typeface="Times New Roman"/>
                        </a:rPr>
                        <a:t>La valorizzazione totale degli output delle attività di ricerca, richiede la nascita e il consolidamento di filiere produttive che possano rispondere in maniera adeguata alla crescente domanda interna di tecnologie, e allo stesso tempo competere a livello internazionale attraverso una buona capacità di export.  Va tenuto presente che, in presenza di trend decrescenti nel peso dei mercati domestici, anche i piccoli e medi operatori dovranno internazionalizzarsi per fronteggiare al meglio la competizione</a:t>
                      </a:r>
                      <a:r>
                        <a:rPr lang="it-IT" sz="1200" b="1" kern="1200" dirty="0" smtClean="0">
                          <a:solidFill>
                            <a:schemeClr val="dk1"/>
                          </a:solidFill>
                          <a:effectLst/>
                          <a:latin typeface="+mn-lt"/>
                          <a:ea typeface="Calibri"/>
                          <a:cs typeface="Times New Roman"/>
                        </a:rPr>
                        <a:t>. </a:t>
                      </a:r>
                    </a:p>
                  </a:txBody>
                  <a:tcPr/>
                </a:tc>
              </a:tr>
              <a:tr h="871848">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Calibri"/>
                          <a:cs typeface="Times New Roman"/>
                        </a:rPr>
                        <a:t>2. </a:t>
                      </a:r>
                      <a:r>
                        <a:rPr lang="it-IT" sz="1200" b="1" i="1" kern="1200" dirty="0" smtClean="0">
                          <a:solidFill>
                            <a:schemeClr val="dk1"/>
                          </a:solidFill>
                          <a:effectLst/>
                          <a:latin typeface="+mn-lt"/>
                          <a:ea typeface="Calibri"/>
                          <a:cs typeface="Times New Roman"/>
                        </a:rPr>
                        <a:t>E’ evidente tuttavia, come sullo sviluppo del settore, soprattutto nelle regioni meridionali ed in Sicilia in particolare pesi la scarsa consistenza del tessuto manifatturiero leggero che caratterizza l’economia regionale.  Nonostante ciò, andrebbero comunque approfondite le opportunità puntuali di creazione di tale tessuto anche sulla base di passate esperienze produttive</a:t>
                      </a:r>
                      <a:r>
                        <a:rPr lang="it-IT" sz="1200" b="1" kern="1200" dirty="0" smtClean="0">
                          <a:solidFill>
                            <a:schemeClr val="dk1"/>
                          </a:solidFill>
                          <a:effectLst/>
                          <a:latin typeface="+mn-lt"/>
                          <a:ea typeface="Calibri"/>
                          <a:cs typeface="Times New Roman"/>
                        </a:rPr>
                        <a:t>. </a:t>
                      </a:r>
                    </a:p>
                  </a:txBody>
                  <a:tcPr/>
                </a:tc>
              </a:tr>
              <a:tr h="907047">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dirty="0" smtClean="0">
                          <a:effectLst/>
                          <a:latin typeface="+mn-lt"/>
                          <a:ea typeface="Calibri"/>
                          <a:cs typeface="Times New Roman"/>
                        </a:rPr>
                        <a:t>3. </a:t>
                      </a:r>
                      <a:r>
                        <a:rPr lang="it-IT" sz="1200" b="1" i="1" dirty="0" smtClean="0">
                          <a:effectLst/>
                          <a:latin typeface="+mn-lt"/>
                          <a:ea typeface="Calibri"/>
                          <a:cs typeface="Times New Roman"/>
                        </a:rPr>
                        <a:t>Proprio in termini di prospettive di mercato, con notevole attenzione dovrebbero essere presidiati gli spazi geograficamente vicini all’Italia e che lasciano presagire opportunità commerciali tra le più elevate al mondo, soprattutto nel solare. </a:t>
                      </a:r>
                    </a:p>
                  </a:txBody>
                  <a:tcPr/>
                </a:tc>
              </a:tr>
              <a:tr h="907047">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dirty="0" smtClean="0">
                          <a:effectLst/>
                          <a:latin typeface="+mn-lt"/>
                          <a:ea typeface="Calibri"/>
                          <a:cs typeface="Times New Roman"/>
                        </a:rPr>
                        <a:t>4.</a:t>
                      </a:r>
                      <a:r>
                        <a:rPr lang="it-IT" sz="1200" b="1" baseline="0" dirty="0" smtClean="0">
                          <a:effectLst/>
                          <a:latin typeface="+mn-lt"/>
                          <a:ea typeface="Calibri"/>
                          <a:cs typeface="Times New Roman"/>
                        </a:rPr>
                        <a:t> </a:t>
                      </a:r>
                      <a:r>
                        <a:rPr lang="it-IT" sz="1200" b="1" i="1" dirty="0" smtClean="0">
                          <a:effectLst/>
                          <a:latin typeface="+mn-lt"/>
                          <a:ea typeface="Calibri"/>
                          <a:cs typeface="Times New Roman"/>
                        </a:rPr>
                        <a:t>Approfondire il processo di scoperta imprenditoriale, facendo emergere le caratteristiche distintive delle aziende siciliane che operano nell’ambito tematico. </a:t>
                      </a:r>
                    </a:p>
                  </a:txBody>
                  <a:tcPr/>
                </a:tc>
              </a:tr>
            </a:tbl>
          </a:graphicData>
        </a:graphic>
      </p:graphicFrame>
      <p:graphicFrame>
        <p:nvGraphicFramePr>
          <p:cNvPr id="3" name="Diagramma 2"/>
          <p:cNvGraphicFramePr/>
          <p:nvPr>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426341809"/>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8403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Immagine 8"/>
          <p:cNvPicPr>
            <a:picLocks noChangeAspect="1"/>
          </p:cNvPicPr>
          <p:nvPr/>
        </p:nvPicPr>
        <p:blipFill>
          <a:blip r:embed="rId2" cstate="print"/>
          <a:srcRect/>
          <a:stretch>
            <a:fillRect/>
          </a:stretch>
        </p:blipFill>
        <p:spPr bwMode="auto">
          <a:xfrm>
            <a:off x="825500" y="2349500"/>
            <a:ext cx="7145338" cy="4016375"/>
          </a:xfrm>
          <a:prstGeom prst="rect">
            <a:avLst/>
          </a:prstGeom>
          <a:noFill/>
          <a:ln w="9525">
            <a:noFill/>
            <a:miter lim="800000"/>
            <a:headEnd/>
            <a:tailEnd/>
          </a:ln>
        </p:spPr>
      </p:pic>
      <p:sp>
        <p:nvSpPr>
          <p:cNvPr id="40962" name="Rectangle 7"/>
          <p:cNvSpPr>
            <a:spLocks noGrp="1" noChangeArrowheads="1"/>
          </p:cNvSpPr>
          <p:nvPr>
            <p:ph type="title" idx="4294967295"/>
          </p:nvPr>
        </p:nvSpPr>
        <p:spPr bwMode="auto">
          <a:xfrm>
            <a:off x="825500" y="1285875"/>
            <a:ext cx="6818313" cy="642938"/>
          </a:xfrm>
          <a:prstGeom prst="rect">
            <a:avLst/>
          </a:prstGeom>
          <a:noFill/>
          <a:ln>
            <a:miter lim="800000"/>
            <a:headEnd/>
            <a:tailEnd/>
          </a:ln>
        </p:spPr>
        <p:txBody>
          <a:bodyPr>
            <a:normAutofit fontScale="90000"/>
          </a:bodyPr>
          <a:lstStyle/>
          <a:p>
            <a:pPr algn="r">
              <a:lnSpc>
                <a:spcPct val="118000"/>
              </a:lnSpc>
            </a:pPr>
            <a:r>
              <a:rPr lang="it-IT" dirty="0" smtClean="0">
                <a:solidFill>
                  <a:srgbClr val="2D2D8B"/>
                </a:solidFill>
                <a:latin typeface="Arial-BoldMT"/>
                <a:ea typeface="Arial-BoldMT"/>
                <a:cs typeface="Arial-BoldMT"/>
              </a:rPr>
              <a:t> 3 Passi per Partecipare</a:t>
            </a:r>
          </a:p>
        </p:txBody>
      </p:sp>
      <p:sp>
        <p:nvSpPr>
          <p:cNvPr id="40963" name="Ovale 7"/>
          <p:cNvSpPr>
            <a:spLocks noChangeArrowheads="1"/>
          </p:cNvSpPr>
          <p:nvPr/>
        </p:nvSpPr>
        <p:spPr bwMode="auto">
          <a:xfrm>
            <a:off x="6265863" y="2924175"/>
            <a:ext cx="1368425" cy="649288"/>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0964" name="CasellaDiTesto 1"/>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ENTRARE SU INNOVATORIPA.IT E CLICCARE SU ACCEDI CON FORMEZAUTH</a:t>
            </a:r>
          </a:p>
        </p:txBody>
      </p:sp>
    </p:spTree>
    <p:extLst>
      <p:ext uri="{BB962C8B-B14F-4D97-AF65-F5344CB8AC3E}">
        <p14:creationId xmlns:p14="http://schemas.microsoft.com/office/powerpoint/2010/main" val="19832394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title" idx="4294967295"/>
          </p:nvPr>
        </p:nvSpPr>
        <p:spPr bwMode="auto">
          <a:xfrm>
            <a:off x="1346200" y="1285875"/>
            <a:ext cx="6297613" cy="642938"/>
          </a:xfrm>
          <a:prstGeom prst="rect">
            <a:avLst/>
          </a:prstGeom>
          <a:noFill/>
          <a:ln>
            <a:miter lim="800000"/>
            <a:headEnd/>
            <a:tailEnd/>
          </a:ln>
        </p:spPr>
        <p:txBody>
          <a:bodyPr>
            <a:normAutofit fontScale="90000"/>
          </a:bodyPr>
          <a:lstStyle/>
          <a:p>
            <a:pPr algn="r">
              <a:lnSpc>
                <a:spcPct val="118000"/>
              </a:lnSpc>
            </a:pPr>
            <a:r>
              <a:rPr lang="it-IT" dirty="0" smtClean="0">
                <a:solidFill>
                  <a:srgbClr val="2D2D8B"/>
                </a:solidFill>
                <a:latin typeface="Arial-BoldMT"/>
                <a:ea typeface="Arial-BoldMT"/>
                <a:cs typeface="Arial-BoldMT"/>
              </a:rPr>
              <a:t> 3 Passi per Partecipare</a:t>
            </a:r>
          </a:p>
        </p:txBody>
      </p:sp>
      <p:pic>
        <p:nvPicPr>
          <p:cNvPr id="41986" name="Immagine 5"/>
          <p:cNvPicPr>
            <a:picLocks noChangeAspect="1"/>
          </p:cNvPicPr>
          <p:nvPr/>
        </p:nvPicPr>
        <p:blipFill>
          <a:blip r:embed="rId2" cstate="print"/>
          <a:srcRect/>
          <a:stretch>
            <a:fillRect/>
          </a:stretch>
        </p:blipFill>
        <p:spPr bwMode="auto">
          <a:xfrm>
            <a:off x="1346200" y="2420938"/>
            <a:ext cx="6916738" cy="3887787"/>
          </a:xfrm>
          <a:prstGeom prst="rect">
            <a:avLst/>
          </a:prstGeom>
          <a:noFill/>
          <a:ln w="9525">
            <a:noFill/>
            <a:miter lim="800000"/>
            <a:headEnd/>
            <a:tailEnd/>
          </a:ln>
        </p:spPr>
      </p:pic>
      <p:sp>
        <p:nvSpPr>
          <p:cNvPr id="41987" name="Ovale 3"/>
          <p:cNvSpPr>
            <a:spLocks noChangeArrowheads="1"/>
          </p:cNvSpPr>
          <p:nvPr/>
        </p:nvSpPr>
        <p:spPr bwMode="auto">
          <a:xfrm>
            <a:off x="2195513" y="5300663"/>
            <a:ext cx="1368425" cy="649287"/>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1988" name="CasellaDiTesto 6"/>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CLICCARE SU REGISTRATI E CREARE UN PROFILO SULLA PIATTAFORMA  INNOVATORIPA</a:t>
            </a:r>
          </a:p>
        </p:txBody>
      </p:sp>
    </p:spTree>
    <p:extLst>
      <p:ext uri="{BB962C8B-B14F-4D97-AF65-F5344CB8AC3E}">
        <p14:creationId xmlns:p14="http://schemas.microsoft.com/office/powerpoint/2010/main" val="297544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title" idx="4294967295"/>
          </p:nvPr>
        </p:nvSpPr>
        <p:spPr bwMode="auto">
          <a:xfrm>
            <a:off x="4683125" y="1285875"/>
            <a:ext cx="2960688" cy="642938"/>
          </a:xfrm>
          <a:prstGeom prst="rect">
            <a:avLst/>
          </a:prstGeom>
          <a:noFill/>
          <a:ln>
            <a:miter lim="800000"/>
            <a:headEnd/>
            <a:tailEnd/>
          </a:ln>
        </p:spPr>
        <p:txBody>
          <a:bodyPr>
            <a:normAutofit fontScale="90000"/>
          </a:bodyPr>
          <a:lstStyle/>
          <a:p>
            <a:pPr algn="r">
              <a:lnSpc>
                <a:spcPct val="118000"/>
              </a:lnSpc>
            </a:pPr>
            <a:r>
              <a:rPr lang="it-IT" smtClean="0">
                <a:solidFill>
                  <a:srgbClr val="2D2D8B"/>
                </a:solidFill>
                <a:latin typeface="Arial-BoldMT"/>
                <a:ea typeface="Arial-BoldMT"/>
                <a:cs typeface="Arial-BoldMT"/>
              </a:rPr>
              <a:t> Partecipa</a:t>
            </a:r>
          </a:p>
        </p:txBody>
      </p:sp>
      <p:pic>
        <p:nvPicPr>
          <p:cNvPr id="43010" name="Immagine 1"/>
          <p:cNvPicPr>
            <a:picLocks noChangeAspect="1"/>
          </p:cNvPicPr>
          <p:nvPr/>
        </p:nvPicPr>
        <p:blipFill>
          <a:blip r:embed="rId2" cstate="print"/>
          <a:srcRect/>
          <a:stretch>
            <a:fillRect/>
          </a:stretch>
        </p:blipFill>
        <p:spPr bwMode="auto">
          <a:xfrm>
            <a:off x="684213" y="2420938"/>
            <a:ext cx="7559675" cy="4251325"/>
          </a:xfrm>
          <a:prstGeom prst="rect">
            <a:avLst/>
          </a:prstGeom>
          <a:noFill/>
          <a:ln w="9525">
            <a:noFill/>
            <a:miter lim="800000"/>
            <a:headEnd/>
            <a:tailEnd/>
          </a:ln>
        </p:spPr>
      </p:pic>
      <p:sp>
        <p:nvSpPr>
          <p:cNvPr id="43011" name="Ovale 3"/>
          <p:cNvSpPr>
            <a:spLocks noChangeArrowheads="1"/>
          </p:cNvSpPr>
          <p:nvPr/>
        </p:nvSpPr>
        <p:spPr bwMode="auto">
          <a:xfrm>
            <a:off x="5795963" y="4941888"/>
            <a:ext cx="1368425" cy="647700"/>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3012" name="CasellaDiTesto 5"/>
          <p:cNvSpPr txBox="1">
            <a:spLocks noChangeArrowheads="1"/>
          </p:cNvSpPr>
          <p:nvPr/>
        </p:nvSpPr>
        <p:spPr bwMode="auto">
          <a:xfrm>
            <a:off x="3203575" y="1878013"/>
            <a:ext cx="5184775" cy="522287"/>
          </a:xfrm>
          <a:prstGeom prst="rect">
            <a:avLst/>
          </a:prstGeom>
          <a:noFill/>
          <a:ln w="9525">
            <a:noFill/>
            <a:miter lim="800000"/>
            <a:headEnd/>
            <a:tailEnd/>
          </a:ln>
        </p:spPr>
        <p:txBody>
          <a:bodyPr>
            <a:spAutoFit/>
          </a:bodyPr>
          <a:lstStyle/>
          <a:p>
            <a:r>
              <a:rPr lang="it-IT" sz="1400">
                <a:solidFill>
                  <a:srgbClr val="FF0000"/>
                </a:solidFill>
              </a:rPr>
              <a:t>CRECARE TRA LE COMMUNITY «STRATEGIA INNOVAZIONE SICILIA» E CLICCARE SU PARTECIPA. </a:t>
            </a:r>
          </a:p>
        </p:txBody>
      </p:sp>
    </p:spTree>
    <p:extLst>
      <p:ext uri="{BB962C8B-B14F-4D97-AF65-F5344CB8AC3E}">
        <p14:creationId xmlns:p14="http://schemas.microsoft.com/office/powerpoint/2010/main" val="3839415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chemeClr val="accent1">
                    <a:lumMod val="75000"/>
                  </a:schemeClr>
                </a:solidFill>
              </a:rPr>
              <a:t>La condivisione del piano di lavoro per la raccolta dei </a:t>
            </a:r>
            <a:r>
              <a:rPr lang="it-IT" sz="3200" b="1" dirty="0" smtClean="0">
                <a:solidFill>
                  <a:schemeClr val="accent1">
                    <a:lumMod val="75000"/>
                  </a:schemeClr>
                </a:solidFill>
              </a:rPr>
              <a:t>contributi (1)  </a:t>
            </a:r>
            <a:r>
              <a:rPr lang="it-IT" sz="3200" dirty="0"/>
              <a:t/>
            </a:r>
            <a:br>
              <a:rPr lang="it-IT" sz="3200" dirty="0"/>
            </a:br>
            <a:endParaRPr lang="it-IT" sz="3200" dirty="0"/>
          </a:p>
        </p:txBody>
      </p:sp>
      <p:graphicFrame>
        <p:nvGraphicFramePr>
          <p:cNvPr id="2" name="Diagramma 1"/>
          <p:cNvGraphicFramePr/>
          <p:nvPr>
            <p:extLst>
              <p:ext uri="{D42A27DB-BD31-4B8C-83A1-F6EECF244321}">
                <p14:modId xmlns:p14="http://schemas.microsoft.com/office/powerpoint/2010/main" val="3391104077"/>
              </p:ext>
            </p:extLst>
          </p:nvPr>
        </p:nvGraphicFramePr>
        <p:xfrm>
          <a:off x="94936" y="1589221"/>
          <a:ext cx="8928992" cy="4840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4151275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rgbClr val="4F81BD">
                    <a:lumMod val="75000"/>
                  </a:srgbClr>
                </a:solidFill>
              </a:rPr>
              <a:t>La condivisione del piano di lavoro per la raccolta dei </a:t>
            </a:r>
            <a:r>
              <a:rPr lang="it-IT" sz="3200" b="1" dirty="0" smtClean="0">
                <a:solidFill>
                  <a:srgbClr val="4F81BD">
                    <a:lumMod val="75000"/>
                  </a:srgbClr>
                </a:solidFill>
              </a:rPr>
              <a:t>contributi (2)  </a:t>
            </a:r>
            <a:r>
              <a:rPr lang="it-IT" sz="3200" dirty="0">
                <a:solidFill>
                  <a:prstClr val="black"/>
                </a:solidFill>
              </a:rPr>
              <a:t/>
            </a:r>
            <a:br>
              <a:rPr lang="it-IT" sz="3200" dirty="0">
                <a:solidFill>
                  <a:prstClr val="black"/>
                </a:solidFill>
              </a:rPr>
            </a:br>
            <a:endParaRPr lang="it-IT" sz="3200" dirty="0">
              <a:solidFill>
                <a:prstClr val="black"/>
              </a:solidFill>
            </a:endParaRPr>
          </a:p>
        </p:txBody>
      </p:sp>
      <p:graphicFrame>
        <p:nvGraphicFramePr>
          <p:cNvPr id="2" name="Diagramma 1"/>
          <p:cNvGraphicFramePr/>
          <p:nvPr>
            <p:extLst/>
          </p:nvPr>
        </p:nvGraphicFramePr>
        <p:xfrm>
          <a:off x="90376" y="2132856"/>
          <a:ext cx="8928992" cy="41440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1069778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333043195"/>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4280909205"/>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714179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899592" y="1556792"/>
            <a:ext cx="7416824" cy="2185214"/>
          </a:xfrm>
          <a:prstGeom prst="rect">
            <a:avLst/>
          </a:prstGeom>
          <a:noFill/>
        </p:spPr>
        <p:txBody>
          <a:bodyPr wrap="square" rtlCol="0">
            <a:spAutoFit/>
          </a:bodyPr>
          <a:lstStyle/>
          <a:p>
            <a:pPr algn="ctr"/>
            <a:r>
              <a:rPr lang="it-IT" sz="4000" dirty="0" smtClean="0">
                <a:solidFill>
                  <a:prstClr val="black"/>
                </a:solidFill>
                <a:hlinkClick r:id="rId2"/>
              </a:rPr>
              <a:t>www.innovatoripa.it</a:t>
            </a:r>
            <a:endParaRPr lang="it-IT" sz="4000" dirty="0" smtClean="0">
              <a:solidFill>
                <a:prstClr val="black"/>
              </a:solidFill>
            </a:endParaRPr>
          </a:p>
          <a:p>
            <a:pPr algn="ctr"/>
            <a:endParaRPr lang="it-IT" sz="3200" dirty="0" smtClean="0">
              <a:solidFill>
                <a:prstClr val="black"/>
              </a:solidFill>
            </a:endParaRPr>
          </a:p>
          <a:p>
            <a:pPr algn="ctr"/>
            <a:r>
              <a:rPr lang="it-IT" sz="3200" dirty="0" err="1" smtClean="0">
                <a:solidFill>
                  <a:prstClr val="black"/>
                </a:solidFill>
              </a:rPr>
              <a:t>Email</a:t>
            </a:r>
            <a:r>
              <a:rPr lang="it-IT" sz="3200" dirty="0" smtClean="0">
                <a:solidFill>
                  <a:prstClr val="black"/>
                </a:solidFill>
              </a:rPr>
              <a:t>:</a:t>
            </a:r>
          </a:p>
          <a:p>
            <a:pPr algn="ctr"/>
            <a:r>
              <a:rPr lang="it-IT" sz="3200" dirty="0" smtClean="0">
                <a:solidFill>
                  <a:prstClr val="black"/>
                </a:solidFill>
                <a:hlinkClick r:id="rId3"/>
              </a:rPr>
              <a:t>strategia.innovazione@regione.sicilia.it</a:t>
            </a:r>
            <a:r>
              <a:rPr lang="it-IT" sz="3200" dirty="0" smtClean="0">
                <a:solidFill>
                  <a:prstClr val="black"/>
                </a:solidFill>
              </a:rPr>
              <a:t> </a:t>
            </a:r>
            <a:endParaRPr lang="it-IT" sz="3200" dirty="0">
              <a:solidFill>
                <a:prstClr val="black"/>
              </a:solidFill>
            </a:endParaRPr>
          </a:p>
        </p:txBody>
      </p:sp>
    </p:spTree>
    <p:extLst>
      <p:ext uri="{BB962C8B-B14F-4D97-AF65-F5344CB8AC3E}">
        <p14:creationId xmlns:p14="http://schemas.microsoft.com/office/powerpoint/2010/main" val="3400767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Immagine 8"/>
          <p:cNvPicPr>
            <a:picLocks noChangeAspect="1"/>
          </p:cNvPicPr>
          <p:nvPr/>
        </p:nvPicPr>
        <p:blipFill>
          <a:blip r:embed="rId2" cstate="print"/>
          <a:srcRect/>
          <a:stretch>
            <a:fillRect/>
          </a:stretch>
        </p:blipFill>
        <p:spPr bwMode="auto">
          <a:xfrm>
            <a:off x="825500" y="2349500"/>
            <a:ext cx="7145338" cy="4016375"/>
          </a:xfrm>
          <a:prstGeom prst="rect">
            <a:avLst/>
          </a:prstGeom>
          <a:noFill/>
          <a:ln w="9525">
            <a:noFill/>
            <a:miter lim="800000"/>
            <a:headEnd/>
            <a:tailEnd/>
          </a:ln>
        </p:spPr>
      </p:pic>
      <p:sp>
        <p:nvSpPr>
          <p:cNvPr id="40962" name="Rectangle 7"/>
          <p:cNvSpPr>
            <a:spLocks noGrp="1" noChangeArrowheads="1"/>
          </p:cNvSpPr>
          <p:nvPr>
            <p:ph type="title" idx="4294967295"/>
          </p:nvPr>
        </p:nvSpPr>
        <p:spPr bwMode="auto">
          <a:xfrm>
            <a:off x="2627313" y="1285875"/>
            <a:ext cx="5016500"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3 Passi per Partecipare</a:t>
            </a:r>
          </a:p>
        </p:txBody>
      </p:sp>
      <p:sp>
        <p:nvSpPr>
          <p:cNvPr id="40963" name="Ovale 7"/>
          <p:cNvSpPr>
            <a:spLocks noChangeArrowheads="1"/>
          </p:cNvSpPr>
          <p:nvPr/>
        </p:nvSpPr>
        <p:spPr bwMode="auto">
          <a:xfrm>
            <a:off x="6265863" y="2924175"/>
            <a:ext cx="1368425" cy="649288"/>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0964" name="CasellaDiTesto 1"/>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ENTRARE SU INNOVATORIPA.IT E CLICCARE SU ACCEDI CON FORMEZAUTH</a:t>
            </a:r>
          </a:p>
        </p:txBody>
      </p:sp>
    </p:spTree>
    <p:extLst>
      <p:ext uri="{BB962C8B-B14F-4D97-AF65-F5344CB8AC3E}">
        <p14:creationId xmlns:p14="http://schemas.microsoft.com/office/powerpoint/2010/main" val="42664242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title" idx="4294967295"/>
          </p:nvPr>
        </p:nvSpPr>
        <p:spPr bwMode="auto">
          <a:xfrm>
            <a:off x="3563938" y="1285875"/>
            <a:ext cx="4079875"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3 Passi per Partecipare</a:t>
            </a:r>
          </a:p>
        </p:txBody>
      </p:sp>
      <p:pic>
        <p:nvPicPr>
          <p:cNvPr id="41986" name="Immagine 5"/>
          <p:cNvPicPr>
            <a:picLocks noChangeAspect="1"/>
          </p:cNvPicPr>
          <p:nvPr/>
        </p:nvPicPr>
        <p:blipFill>
          <a:blip r:embed="rId2" cstate="print"/>
          <a:srcRect/>
          <a:stretch>
            <a:fillRect/>
          </a:stretch>
        </p:blipFill>
        <p:spPr bwMode="auto">
          <a:xfrm>
            <a:off x="1346200" y="2420938"/>
            <a:ext cx="6916738" cy="3887787"/>
          </a:xfrm>
          <a:prstGeom prst="rect">
            <a:avLst/>
          </a:prstGeom>
          <a:noFill/>
          <a:ln w="9525">
            <a:noFill/>
            <a:miter lim="800000"/>
            <a:headEnd/>
            <a:tailEnd/>
          </a:ln>
        </p:spPr>
      </p:pic>
      <p:sp>
        <p:nvSpPr>
          <p:cNvPr id="41987" name="Ovale 3"/>
          <p:cNvSpPr>
            <a:spLocks noChangeArrowheads="1"/>
          </p:cNvSpPr>
          <p:nvPr/>
        </p:nvSpPr>
        <p:spPr bwMode="auto">
          <a:xfrm>
            <a:off x="2195513" y="5300663"/>
            <a:ext cx="1368425" cy="649287"/>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1988" name="CasellaDiTesto 6"/>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CLICCARE SU REGISTRATI E CREARE UN PROFILO SULLA PIATTAFORMA  INNOVATORIPA</a:t>
            </a:r>
          </a:p>
        </p:txBody>
      </p:sp>
    </p:spTree>
    <p:extLst>
      <p:ext uri="{BB962C8B-B14F-4D97-AF65-F5344CB8AC3E}">
        <p14:creationId xmlns:p14="http://schemas.microsoft.com/office/powerpoint/2010/main" val="32707240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title" idx="4294967295"/>
          </p:nvPr>
        </p:nvSpPr>
        <p:spPr bwMode="auto">
          <a:xfrm>
            <a:off x="4683125" y="1285875"/>
            <a:ext cx="2960688"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Partecipa</a:t>
            </a:r>
          </a:p>
        </p:txBody>
      </p:sp>
      <p:pic>
        <p:nvPicPr>
          <p:cNvPr id="43010" name="Immagine 1"/>
          <p:cNvPicPr>
            <a:picLocks noChangeAspect="1"/>
          </p:cNvPicPr>
          <p:nvPr/>
        </p:nvPicPr>
        <p:blipFill>
          <a:blip r:embed="rId2" cstate="print"/>
          <a:srcRect/>
          <a:stretch>
            <a:fillRect/>
          </a:stretch>
        </p:blipFill>
        <p:spPr bwMode="auto">
          <a:xfrm>
            <a:off x="684213" y="2420938"/>
            <a:ext cx="7559675" cy="4251325"/>
          </a:xfrm>
          <a:prstGeom prst="rect">
            <a:avLst/>
          </a:prstGeom>
          <a:noFill/>
          <a:ln w="9525">
            <a:noFill/>
            <a:miter lim="800000"/>
            <a:headEnd/>
            <a:tailEnd/>
          </a:ln>
        </p:spPr>
      </p:pic>
      <p:sp>
        <p:nvSpPr>
          <p:cNvPr id="43011" name="Ovale 3"/>
          <p:cNvSpPr>
            <a:spLocks noChangeArrowheads="1"/>
          </p:cNvSpPr>
          <p:nvPr/>
        </p:nvSpPr>
        <p:spPr bwMode="auto">
          <a:xfrm>
            <a:off x="5795963" y="4941888"/>
            <a:ext cx="1368425" cy="647700"/>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3012" name="CasellaDiTesto 5"/>
          <p:cNvSpPr txBox="1">
            <a:spLocks noChangeArrowheads="1"/>
          </p:cNvSpPr>
          <p:nvPr/>
        </p:nvSpPr>
        <p:spPr bwMode="auto">
          <a:xfrm>
            <a:off x="3203575" y="1878013"/>
            <a:ext cx="5184775" cy="522287"/>
          </a:xfrm>
          <a:prstGeom prst="rect">
            <a:avLst/>
          </a:prstGeom>
          <a:noFill/>
          <a:ln w="9525">
            <a:noFill/>
            <a:miter lim="800000"/>
            <a:headEnd/>
            <a:tailEnd/>
          </a:ln>
        </p:spPr>
        <p:txBody>
          <a:bodyPr>
            <a:spAutoFit/>
          </a:bodyPr>
          <a:lstStyle/>
          <a:p>
            <a:r>
              <a:rPr lang="it-IT" sz="1400" dirty="0" smtClean="0">
                <a:solidFill>
                  <a:srgbClr val="FF0000"/>
                </a:solidFill>
              </a:rPr>
              <a:t>CERCARE </a:t>
            </a:r>
            <a:r>
              <a:rPr lang="it-IT" sz="1400" dirty="0">
                <a:solidFill>
                  <a:srgbClr val="FF0000"/>
                </a:solidFill>
              </a:rPr>
              <a:t>TRA LE COMMUNITY «STRATEGIA INNOVAZIONE SICILIA» E CLICCARE SU PARTECIPA. </a:t>
            </a:r>
          </a:p>
        </p:txBody>
      </p:sp>
    </p:spTree>
    <p:extLst>
      <p:ext uri="{BB962C8B-B14F-4D97-AF65-F5344CB8AC3E}">
        <p14:creationId xmlns:p14="http://schemas.microsoft.com/office/powerpoint/2010/main" val="1316072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1826735653"/>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1799450160"/>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893766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1"/>
          <p:cNvGraphicFramePr/>
          <p:nvPr>
            <p:extLst/>
          </p:nvPr>
        </p:nvGraphicFramePr>
        <p:xfrm>
          <a:off x="185051" y="1687374"/>
          <a:ext cx="1794661" cy="4533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olo 1"/>
          <p:cNvSpPr txBox="1">
            <a:spLocks/>
          </p:cNvSpPr>
          <p:nvPr/>
        </p:nvSpPr>
        <p:spPr bwMode="auto">
          <a:xfrm>
            <a:off x="467544" y="804783"/>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4000" dirty="0">
                <a:solidFill>
                  <a:schemeClr val="accent1">
                    <a:lumMod val="75000"/>
                  </a:schemeClr>
                </a:solidFill>
              </a:rPr>
              <a:t>Modalità di </a:t>
            </a:r>
            <a:r>
              <a:rPr lang="it-IT" sz="4000" dirty="0" smtClean="0">
                <a:solidFill>
                  <a:schemeClr val="accent1">
                    <a:lumMod val="75000"/>
                  </a:schemeClr>
                </a:solidFill>
              </a:rPr>
              <a:t>lavoro (1)</a:t>
            </a:r>
            <a:endParaRPr lang="it-IT" sz="40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nvPr>
        </p:nvGraphicFramePr>
        <p:xfrm>
          <a:off x="2312057" y="1900215"/>
          <a:ext cx="6096000" cy="4064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nvPr>
        </p:nvGraphicFramePr>
        <p:xfrm>
          <a:off x="6699005" y="1833746"/>
          <a:ext cx="2127006" cy="838338"/>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8" name="Gruppo 7"/>
          <p:cNvGrpSpPr/>
          <p:nvPr/>
        </p:nvGrpSpPr>
        <p:grpSpPr>
          <a:xfrm>
            <a:off x="6765475" y="5223661"/>
            <a:ext cx="2125797" cy="997034"/>
            <a:chOff x="1308" y="27903"/>
            <a:chExt cx="2302947" cy="764184"/>
          </a:xfrm>
          <a:scene3d>
            <a:camera prst="orthographicFront">
              <a:rot lat="0" lon="0" rev="0"/>
            </a:camera>
            <a:lightRig rig="contrasting" dir="t">
              <a:rot lat="0" lon="0" rev="1200000"/>
            </a:lightRig>
          </a:scene3d>
        </p:grpSpPr>
        <p:sp>
          <p:nvSpPr>
            <p:cNvPr id="9" name="Rettangolo 8"/>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Rettangolo 9"/>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Lavoro a distanza  e/o in presenza</a:t>
              </a:r>
            </a:p>
            <a:p>
              <a:pPr algn="ctr" defTabSz="738572">
                <a:lnSpc>
                  <a:spcPct val="90000"/>
                </a:lnSpc>
                <a:spcBef>
                  <a:spcPct val="0"/>
                </a:spcBef>
                <a:spcAft>
                  <a:spcPct val="35000"/>
                </a:spcAft>
              </a:pPr>
              <a:r>
                <a:rPr lang="it-IT" sz="1662" dirty="0"/>
                <a:t>Entro il 21 maggio 2014</a:t>
              </a:r>
            </a:p>
          </p:txBody>
        </p:sp>
      </p:grpSp>
      <p:grpSp>
        <p:nvGrpSpPr>
          <p:cNvPr id="11" name="Gruppo 10"/>
          <p:cNvGrpSpPr/>
          <p:nvPr/>
        </p:nvGrpSpPr>
        <p:grpSpPr>
          <a:xfrm>
            <a:off x="1979713" y="5290130"/>
            <a:ext cx="2125797" cy="705401"/>
            <a:chOff x="1308" y="27903"/>
            <a:chExt cx="2302947" cy="764184"/>
          </a:xfrm>
          <a:scene3d>
            <a:camera prst="orthographicFront">
              <a:rot lat="0" lon="0" rev="0"/>
            </a:camera>
            <a:lightRig rig="contrasting" dir="t">
              <a:rot lat="0" lon="0" rev="1200000"/>
            </a:lightRig>
          </a:scene3d>
        </p:grpSpPr>
        <p:sp>
          <p:nvSpPr>
            <p:cNvPr id="12" name="Rettangolo 11"/>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ettangolo 12"/>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A distanza</a:t>
              </a:r>
            </a:p>
          </p:txBody>
        </p:sp>
      </p:grpSp>
      <p:grpSp>
        <p:nvGrpSpPr>
          <p:cNvPr id="14" name="Gruppo 13"/>
          <p:cNvGrpSpPr/>
          <p:nvPr/>
        </p:nvGrpSpPr>
        <p:grpSpPr>
          <a:xfrm>
            <a:off x="1913244" y="1966684"/>
            <a:ext cx="2125797" cy="705401"/>
            <a:chOff x="1308" y="27903"/>
            <a:chExt cx="2302947" cy="764184"/>
          </a:xfrm>
          <a:scene3d>
            <a:camera prst="orthographicFront">
              <a:rot lat="0" lon="0" rev="0"/>
            </a:camera>
            <a:lightRig rig="contrasting" dir="t">
              <a:rot lat="0" lon="0" rev="1200000"/>
            </a:lightRig>
          </a:scene3d>
        </p:grpSpPr>
        <p:sp>
          <p:nvSpPr>
            <p:cNvPr id="15" name="Rettangolo 14"/>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6" name="Rettangolo 15"/>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In presenza</a:t>
              </a:r>
            </a:p>
            <a:p>
              <a:pPr algn="ctr" defTabSz="738572">
                <a:lnSpc>
                  <a:spcPct val="90000"/>
                </a:lnSpc>
                <a:spcBef>
                  <a:spcPct val="0"/>
                </a:spcBef>
                <a:spcAft>
                  <a:spcPct val="35000"/>
                </a:spcAft>
              </a:pPr>
              <a:r>
                <a:rPr lang="it-IT" sz="1662" dirty="0"/>
                <a:t>29-30 maggio 2014</a:t>
              </a:r>
            </a:p>
          </p:txBody>
        </p:sp>
      </p:grpSp>
      <p:pic>
        <p:nvPicPr>
          <p:cNvPr id="17" name="Immagin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63695" y="3960751"/>
            <a:ext cx="1428135" cy="93056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8" name="Freccia a sinistra 17"/>
          <p:cNvSpPr/>
          <p:nvPr/>
        </p:nvSpPr>
        <p:spPr bwMode="auto">
          <a:xfrm>
            <a:off x="6898412" y="4492503"/>
            <a:ext cx="398814" cy="398814"/>
          </a:xfrm>
          <a:prstGeom prst="lef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19" name="Rettangolo 18"/>
          <p:cNvSpPr/>
          <p:nvPr/>
        </p:nvSpPr>
        <p:spPr>
          <a:xfrm>
            <a:off x="7297226" y="3561939"/>
            <a:ext cx="1594046" cy="341006"/>
          </a:xfrm>
          <a:prstGeom prst="rect">
            <a:avLst/>
          </a:prstGeom>
          <a:noFill/>
        </p:spPr>
        <p:txBody>
          <a:bodyPr wrap="square" lIns="84406" tIns="42203" rIns="84406" bIns="42203">
            <a:spAutoFit/>
          </a:bodyPr>
          <a:lstStyle/>
          <a:p>
            <a:pPr algn="ctr"/>
            <a:r>
              <a:rPr lang="it-IT" sz="1662"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Innovatori PA</a:t>
            </a:r>
          </a:p>
        </p:txBody>
      </p:sp>
    </p:spTree>
    <p:extLst>
      <p:ext uri="{BB962C8B-B14F-4D97-AF65-F5344CB8AC3E}">
        <p14:creationId xmlns:p14="http://schemas.microsoft.com/office/powerpoint/2010/main" val="14315142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467544" y="836712"/>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2800" dirty="0">
                <a:solidFill>
                  <a:schemeClr val="accent1">
                    <a:lumMod val="75000"/>
                  </a:schemeClr>
                </a:solidFill>
              </a:rPr>
              <a:t>Modalità di lavoro </a:t>
            </a:r>
            <a:r>
              <a:rPr lang="it-IT" sz="2800" dirty="0" smtClean="0">
                <a:solidFill>
                  <a:schemeClr val="accent1">
                    <a:lumMod val="75000"/>
                  </a:schemeClr>
                </a:solidFill>
              </a:rPr>
              <a:t>(2)</a:t>
            </a:r>
            <a:endParaRPr lang="it-IT" sz="28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uppo 4"/>
          <p:cNvGrpSpPr/>
          <p:nvPr/>
        </p:nvGrpSpPr>
        <p:grpSpPr>
          <a:xfrm>
            <a:off x="52113" y="1687374"/>
            <a:ext cx="1661723" cy="4533320"/>
            <a:chOff x="0" y="0"/>
            <a:chExt cx="1942318" cy="4911097"/>
          </a:xfrm>
          <a:scene3d>
            <a:camera prst="orthographicFront"/>
            <a:lightRig rig="flat" dir="t"/>
          </a:scene3d>
        </p:grpSpPr>
        <p:sp>
          <p:nvSpPr>
            <p:cNvPr id="6" name="Rettangolo arrotondato 5"/>
            <p:cNvSpPr/>
            <p:nvPr/>
          </p:nvSpPr>
          <p:spPr>
            <a:xfrm>
              <a:off x="0" y="0"/>
              <a:ext cx="1942318" cy="4911097"/>
            </a:xfrm>
            <a:prstGeom prst="roundRect">
              <a:avLst/>
            </a:prstGeom>
            <a:sp3d prstMaterial="plastic">
              <a:bevelT w="120900" h="88900"/>
              <a:bevelB w="88900" h="31750" prst="angle"/>
            </a:sp3d>
          </p:spPr>
          <p:style>
            <a:lnRef idx="0">
              <a:schemeClr val="lt1">
                <a:hueOff val="0"/>
                <a:satOff val="0"/>
                <a:lumOff val="0"/>
                <a:alphaOff val="0"/>
              </a:schemeClr>
            </a:lnRef>
            <a:fillRef idx="3">
              <a:schemeClr val="accent2">
                <a:alpha val="90000"/>
                <a:hueOff val="0"/>
                <a:satOff val="0"/>
                <a:lumOff val="0"/>
                <a:alphaOff val="0"/>
              </a:schemeClr>
            </a:fillRef>
            <a:effectRef idx="2">
              <a:schemeClr val="accent2">
                <a:alpha val="90000"/>
                <a:hueOff val="0"/>
                <a:satOff val="0"/>
                <a:lumOff val="0"/>
                <a:alphaOff val="0"/>
              </a:schemeClr>
            </a:effectRef>
            <a:fontRef idx="minor">
              <a:schemeClr val="lt1"/>
            </a:fontRef>
          </p:style>
        </p:sp>
        <p:sp>
          <p:nvSpPr>
            <p:cNvPr id="7" name="Rettangolo 6"/>
            <p:cNvSpPr/>
            <p:nvPr/>
          </p:nvSpPr>
          <p:spPr>
            <a:xfrm>
              <a:off x="94816" y="94816"/>
              <a:ext cx="1752686" cy="472146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84406" tIns="42203" rIns="84406" bIns="42203" numCol="1" spcCol="1270" anchor="ctr" anchorCtr="0">
              <a:noAutofit/>
            </a:bodyPr>
            <a:lstStyle/>
            <a:p>
              <a:pPr algn="ctr" defTabSz="984763">
                <a:lnSpc>
                  <a:spcPct val="90000"/>
                </a:lnSpc>
                <a:spcBef>
                  <a:spcPct val="0"/>
                </a:spcBef>
                <a:spcAft>
                  <a:spcPct val="35000"/>
                </a:spcAft>
              </a:pPr>
              <a:r>
                <a:rPr lang="it-IT" sz="2215" b="1" dirty="0"/>
                <a:t>TAVOLI TEMATICI</a:t>
              </a:r>
            </a:p>
          </p:txBody>
        </p:sp>
      </p:grpSp>
      <p:graphicFrame>
        <p:nvGraphicFramePr>
          <p:cNvPr id="8" name="Tabella 7"/>
          <p:cNvGraphicFramePr>
            <a:graphicFrameLocks noGrp="1"/>
          </p:cNvGraphicFramePr>
          <p:nvPr/>
        </p:nvGraphicFramePr>
        <p:xfrm>
          <a:off x="2710870" y="1633622"/>
          <a:ext cx="5121761" cy="4500166"/>
        </p:xfrm>
        <a:graphic>
          <a:graphicData uri="http://schemas.openxmlformats.org/drawingml/2006/table">
            <a:tbl>
              <a:tblPr/>
              <a:tblGrid>
                <a:gridCol w="1520061"/>
                <a:gridCol w="2132309"/>
                <a:gridCol w="348347"/>
                <a:gridCol w="253343"/>
                <a:gridCol w="392682"/>
                <a:gridCol w="475019"/>
              </a:tblGrid>
              <a:tr h="277758">
                <a:tc gridSpan="6">
                  <a:txBody>
                    <a:bodyPr/>
                    <a:lstStyle/>
                    <a:p>
                      <a:pPr algn="ctr" fontAlgn="b"/>
                      <a:r>
                        <a:rPr lang="it-IT" sz="1700" b="1" i="0" u="none" strike="noStrike">
                          <a:solidFill>
                            <a:srgbClr val="FFFFFF"/>
                          </a:solidFill>
                          <a:effectLst/>
                          <a:latin typeface="Arial" panose="020B0604020202020204" pitchFamily="34" charset="0"/>
                        </a:rPr>
                        <a:t>PIANO DI LAVORO TAVOLO TEMATIC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218660">
                <a:tc>
                  <a:txBody>
                    <a:bodyPr/>
                    <a:lstStyle/>
                    <a:p>
                      <a:pPr algn="l" fontAlgn="b"/>
                      <a:endParaRPr lang="it-IT" sz="1400" b="1"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660">
                <a:tc>
                  <a:txBody>
                    <a:bodyPr/>
                    <a:lstStyle/>
                    <a:p>
                      <a:pPr algn="ctr" fontAlgn="b"/>
                      <a:r>
                        <a:rPr lang="it-IT" sz="1100" b="1" i="0" u="none" strike="noStrike">
                          <a:solidFill>
                            <a:srgbClr val="FFFFFF"/>
                          </a:solidFill>
                          <a:effectLst/>
                          <a:latin typeface="Arial" panose="020B0604020202020204" pitchFamily="34" charset="0"/>
                        </a:rPr>
                        <a:t>Ambito tematico</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gridSpan="5">
                  <a:txBody>
                    <a:bodyPr/>
                    <a:lstStyle/>
                    <a:p>
                      <a:pPr algn="ctr" fontAlgn="b"/>
                      <a:r>
                        <a:rPr lang="it-IT" sz="800" b="0" i="0" u="none" strike="noStrike">
                          <a:solidFill>
                            <a:srgbClr val="000000"/>
                          </a:solidFill>
                          <a:effectLst/>
                          <a:latin typeface="Calibri" panose="020F050202020403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166950">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7758">
                <a:tc rowSpan="2">
                  <a:txBody>
                    <a:bodyPr/>
                    <a:lstStyle/>
                    <a:p>
                      <a:pPr algn="ctr" fontAlgn="b"/>
                      <a:r>
                        <a:rPr lang="it-IT" sz="1100" b="1" i="0" u="none" strike="noStrike">
                          <a:solidFill>
                            <a:srgbClr val="FFFFFF"/>
                          </a:solidFill>
                          <a:effectLst/>
                          <a:latin typeface="Arial" panose="020B0604020202020204" pitchFamily="34" charset="0"/>
                        </a:rPr>
                        <a:t>Tema di approfondiment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rowSpan="2">
                  <a:txBody>
                    <a:bodyPr/>
                    <a:lstStyle/>
                    <a:p>
                      <a:pPr algn="ctr" fontAlgn="b"/>
                      <a:r>
                        <a:rPr lang="it-IT" sz="1100" b="1" i="0" u="none" strike="noStrike">
                          <a:solidFill>
                            <a:srgbClr val="FFFFFF"/>
                          </a:solidFill>
                          <a:effectLst/>
                          <a:latin typeface="Arial" panose="020B0604020202020204" pitchFamily="34" charset="0"/>
                        </a:rPr>
                        <a:t>Questioni specifiche</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gridSpan="4">
                  <a:txBody>
                    <a:bodyPr/>
                    <a:lstStyle/>
                    <a:p>
                      <a:pPr algn="ctr" fontAlgn="b"/>
                      <a:r>
                        <a:rPr lang="it-IT" sz="1100" b="1" i="0" u="none" strike="noStrike">
                          <a:solidFill>
                            <a:srgbClr val="FFFFFF"/>
                          </a:solidFill>
                          <a:effectLst/>
                          <a:latin typeface="Arial" panose="020B0604020202020204" pitchFamily="34" charset="0"/>
                        </a:rPr>
                        <a:t>Contributi laboratori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r>
              <a:tr h="343534">
                <a:tc vMerge="1">
                  <a:txBody>
                    <a:bodyPr/>
                    <a:lstStyle/>
                    <a:p>
                      <a:endParaRPr lang="it-IT"/>
                    </a:p>
                  </a:txBody>
                  <a:tcPr/>
                </a:tc>
                <a:tc vMerge="1">
                  <a:txBody>
                    <a:bodyPr/>
                    <a:lstStyle/>
                    <a:p>
                      <a:endParaRPr lang="it-IT"/>
                    </a:p>
                  </a:txBody>
                  <a:tcPr/>
                </a:tc>
                <a:tc>
                  <a:txBody>
                    <a:bodyPr/>
                    <a:lstStyle/>
                    <a:p>
                      <a:pPr algn="ctr" fontAlgn="b"/>
                      <a:r>
                        <a:rPr lang="it-IT" sz="1100" b="1" i="0" u="none" strike="noStrike">
                          <a:solidFill>
                            <a:srgbClr val="FFFFFF"/>
                          </a:solidFill>
                          <a:effectLst/>
                          <a:latin typeface="Arial" panose="020B0604020202020204" pitchFamily="34" charset="0"/>
                        </a:rPr>
                        <a:t>Cosa</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hi</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ome</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Entro il</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141834">
                <a:tc>
                  <a:txBody>
                    <a:bodyPr/>
                    <a:lstStyle/>
                    <a:p>
                      <a:pPr algn="l" fontAlgn="b"/>
                      <a:r>
                        <a:rPr lang="it-IT" sz="800" b="0" i="0" u="none" strike="noStrike">
                          <a:solidFill>
                            <a:srgbClr val="000000"/>
                          </a:solidFill>
                          <a:effectLst/>
                          <a:latin typeface="Arial" panose="020B0604020202020204" pitchFamily="34" charset="0"/>
                        </a:rPr>
                        <a:t>1. Sistema produttivo</a:t>
                      </a:r>
                    </a:p>
                  </a:txBody>
                  <a:tcPr marL="5910" marR="5910" marT="591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1 Quali sono i punti di forza?</a:t>
                      </a:r>
                    </a:p>
                  </a:txBody>
                  <a:tcPr marL="5910" marR="5910" marT="591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1.2 Quali sono i punti di debolezza?</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3 Quali sono i vantaggi competitiv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2. Sistema  della conoscenza</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1. Chi sono gli attori pubblici e priva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2 Quali  sono le competenze scientifiche attivate?</a:t>
                      </a:r>
                    </a:p>
                  </a:txBody>
                  <a:tcPr marL="5910" marR="5910" marT="5910" marB="0" anchor="b">
                    <a:lnL>
                      <a:noFill/>
                    </a:lnL>
                    <a:lnR w="12700" cap="flat" cmpd="sng" algn="ctr">
                      <a:solidFill>
                        <a:srgbClr val="000000"/>
                      </a:solidFill>
                      <a:prstDash val="solid"/>
                      <a:round/>
                      <a:headEnd type="none" w="med" len="med"/>
                      <a:tailEnd type="none" w="med" len="med"/>
                    </a:lnR>
                    <a:lnT>
                      <a:noFill/>
                    </a:lnT>
                    <a:lnB>
                      <a:noFill/>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3 Quali sono gli ambiti di sviluppo tecnologico più importanti?</a:t>
                      </a:r>
                    </a:p>
                  </a:txBody>
                  <a:tcPr marL="5910" marR="5910" marT="5910" marB="0" anchor="b">
                    <a:lnL>
                      <a:noFill/>
                    </a:lnL>
                    <a:lnR w="12700" cap="flat" cmpd="sng" algn="ctr">
                      <a:solidFill>
                        <a:srgbClr val="000000"/>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4 Quali sono le linee di innovazione  e ricerca più prometten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5 Chi e come è presente nelle reti extra-region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3. Indicazioni di priorità</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3.1 A quali  esigenze/sfide del territorio rispondono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 3.2 Quali sono i/le segmenti/nicchie di attività più promettenti per il futuro?</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4. Il contributo delle KET</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a:noFill/>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4.1 L'incidenza delle KET (Micro  elettronica, biotecnologie e ICT)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83667">
                <a:tc>
                  <a:txBody>
                    <a:bodyPr/>
                    <a:lstStyle/>
                    <a:p>
                      <a:pPr algn="l" fontAlgn="b"/>
                      <a:r>
                        <a:rPr lang="it-IT" sz="800" b="0" i="0" u="none" strike="noStrike">
                          <a:solidFill>
                            <a:srgbClr val="000000"/>
                          </a:solidFill>
                          <a:effectLst/>
                          <a:latin typeface="Calibri" panose="020F0502020204030204" pitchFamily="34" charset="0"/>
                        </a:rPr>
                        <a:t>5. Il potenziale ruolo dell'innovazione sociale</a:t>
                      </a:r>
                    </a:p>
                  </a:txBody>
                  <a:tcPr marL="5910" marR="5910" marT="5910" marB="0" anchor="b">
                    <a:lnL w="12700" cap="flat" cmpd="sng" algn="ctr">
                      <a:solidFill>
                        <a:srgbClr val="000000"/>
                      </a:solidFill>
                      <a:prstDash val="solid"/>
                      <a:round/>
                      <a:headEnd type="none" w="med" len="med"/>
                      <a:tailEnd type="none" w="med" len="med"/>
                    </a:lnL>
                    <a:lnR>
                      <a:noFill/>
                    </a:lnR>
                    <a:lnT>
                      <a:noFill/>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5.1 C'è un possibile ruolo per l'innovazione sociale? Se si, quale?</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667">
                <a:tc>
                  <a:txBody>
                    <a:bodyPr/>
                    <a:lstStyle/>
                    <a:p>
                      <a:pPr algn="l" fontAlgn="b"/>
                      <a:r>
                        <a:rPr lang="it-IT" sz="800" b="0" i="0" u="none" strike="noStrike">
                          <a:solidFill>
                            <a:srgbClr val="000000"/>
                          </a:solidFill>
                          <a:effectLst/>
                          <a:latin typeface="Arial" panose="020B0604020202020204" pitchFamily="34" charset="0"/>
                        </a:rPr>
                        <a:t>6. Le intersezioni con altri ambiti tematici</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6.1  Sono rilevate intersezioni con altri ambiti tecnologici e produttivi.Qu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dirty="0">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r>
            </a:tbl>
          </a:graphicData>
        </a:graphic>
      </p:graphicFrame>
      <p:graphicFrame>
        <p:nvGraphicFramePr>
          <p:cNvPr id="2" name="Diagramma 1"/>
          <p:cNvGraphicFramePr/>
          <p:nvPr>
            <p:extLst/>
          </p:nvPr>
        </p:nvGraphicFramePr>
        <p:xfrm>
          <a:off x="583865" y="1900215"/>
          <a:ext cx="9046471" cy="50895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8565194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1005411627"/>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534735153"/>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4582950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930471524"/>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641702458"/>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60050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53026689"/>
              </p:ext>
            </p:extLst>
          </p:nvPr>
        </p:nvGraphicFramePr>
        <p:xfrm>
          <a:off x="1115616" y="1700808"/>
          <a:ext cx="7200800" cy="3665830"/>
        </p:xfrm>
        <a:graphic>
          <a:graphicData uri="http://schemas.openxmlformats.org/drawingml/2006/table">
            <a:tbl>
              <a:tblPr>
                <a:tableStyleId>{5FD0F851-EC5A-4D38-B0AD-8093EC10F338}</a:tableStyleId>
              </a:tblPr>
              <a:tblGrid>
                <a:gridCol w="1045072"/>
                <a:gridCol w="974975"/>
                <a:gridCol w="5180753"/>
              </a:tblGrid>
              <a:tr h="366583">
                <a:tc>
                  <a:txBody>
                    <a:bodyPr/>
                    <a:lstStyle/>
                    <a:p>
                      <a:pPr algn="ctr" fontAlgn="b"/>
                      <a:r>
                        <a:rPr lang="it-IT" sz="1600" b="1" u="none" strike="noStrike" dirty="0" smtClean="0">
                          <a:solidFill>
                            <a:schemeClr val="accent1">
                              <a:lumMod val="75000"/>
                            </a:schemeClr>
                          </a:solidFill>
                          <a:effectLst/>
                        </a:rPr>
                        <a:t>15:3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smtClean="0">
                          <a:solidFill>
                            <a:schemeClr val="accent1">
                              <a:lumMod val="75000"/>
                            </a:schemeClr>
                          </a:solidFill>
                          <a:effectLst/>
                        </a:rPr>
                        <a:t>15:45</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roduzione lavori</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r h="366583">
                <a:tc rowSpan="4"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u="none" strike="noStrike" kern="1200" dirty="0" smtClean="0">
                          <a:solidFill>
                            <a:schemeClr val="accent1">
                              <a:lumMod val="75000"/>
                            </a:schemeClr>
                          </a:solidFill>
                          <a:effectLst/>
                          <a:latin typeface="+mn-lt"/>
                          <a:ea typeface="+mn-ea"/>
                          <a:cs typeface="+mn-cs"/>
                        </a:rPr>
                        <a:t>Emanuela</a:t>
                      </a:r>
                      <a:r>
                        <a:rPr lang="it-IT" sz="1400" b="1" u="none" strike="noStrike" kern="1200" baseline="0" dirty="0" smtClean="0">
                          <a:solidFill>
                            <a:schemeClr val="accent1">
                              <a:lumMod val="75000"/>
                            </a:schemeClr>
                          </a:solidFill>
                          <a:effectLst/>
                          <a:latin typeface="+mn-lt"/>
                          <a:ea typeface="+mn-ea"/>
                          <a:cs typeface="+mn-cs"/>
                        </a:rPr>
                        <a:t> </a:t>
                      </a:r>
                      <a:r>
                        <a:rPr lang="it-IT" sz="1400" b="1" u="none" strike="noStrike" kern="1200" baseline="0" dirty="0" err="1" smtClean="0">
                          <a:solidFill>
                            <a:schemeClr val="accent1">
                              <a:lumMod val="75000"/>
                            </a:schemeClr>
                          </a:solidFill>
                          <a:effectLst/>
                          <a:latin typeface="+mn-lt"/>
                          <a:ea typeface="+mn-ea"/>
                          <a:cs typeface="+mn-cs"/>
                        </a:rPr>
                        <a:t>Guccione</a:t>
                      </a:r>
                      <a:endParaRPr lang="it-IT" sz="1400" b="1" u="none" strike="noStrike" kern="1200" baseline="0" dirty="0" smtClean="0">
                        <a:solidFill>
                          <a:schemeClr val="accent1">
                            <a:lumMod val="75000"/>
                          </a:schemeClr>
                        </a:solidFill>
                        <a:effectLst/>
                        <a:latin typeface="+mn-lt"/>
                        <a:ea typeface="+mn-ea"/>
                        <a:cs typeface="+mn-cs"/>
                      </a:endParaRPr>
                    </a:p>
                    <a:p>
                      <a:pPr algn="ctr" fontAlgn="t"/>
                      <a:r>
                        <a:rPr lang="it-IT" sz="1400" b="1" i="1" u="none" strike="noStrike" dirty="0" smtClean="0">
                          <a:solidFill>
                            <a:schemeClr val="accent1">
                              <a:lumMod val="75000"/>
                            </a:schemeClr>
                          </a:solidFill>
                          <a:effectLst/>
                        </a:rPr>
                        <a:t>Regione Siciliana</a:t>
                      </a:r>
                      <a:endParaRPr lang="it-IT" sz="1400" b="1" i="1" u="none" strike="noStrike" dirty="0">
                        <a:solidFill>
                          <a:schemeClr val="accent1">
                            <a:lumMod val="75000"/>
                          </a:schemeClr>
                        </a:solidFill>
                        <a:effectLst/>
                        <a:latin typeface="Calibri"/>
                      </a:endParaRPr>
                    </a:p>
                  </a:txBody>
                  <a:tcPr marL="9525" marR="9525" marT="9525" marB="0"/>
                </a:tc>
                <a:tc rowSpan="4" h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hi siamo</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Perché siamo qui</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osa dobbiamo fare</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Modalità di lavoro</a:t>
                      </a:r>
                      <a:endParaRPr lang="it-IT" sz="1400" b="1" i="1" u="none" strike="noStrike" dirty="0">
                        <a:solidFill>
                          <a:schemeClr val="accent1">
                            <a:lumMod val="75000"/>
                          </a:schemeClr>
                        </a:solidFill>
                        <a:effectLst/>
                        <a:latin typeface="Calibri"/>
                      </a:endParaRPr>
                    </a:p>
                  </a:txBody>
                  <a:tcPr marL="9525" marR="9525" marT="9525" marB="0" anchor="b"/>
                </a:tc>
              </a:tr>
              <a:tr h="366583">
                <a:tc>
                  <a:txBody>
                    <a:bodyPr/>
                    <a:lstStyle/>
                    <a:p>
                      <a:pPr marL="0" algn="ctr" defTabSz="914400" rtl="0" eaLnBrk="1" fontAlgn="b" latinLnBrk="0" hangingPunct="1"/>
                      <a:r>
                        <a:rPr lang="it-IT" sz="1600" b="1" u="none" strike="noStrike" kern="1200" dirty="0" smtClean="0">
                          <a:solidFill>
                            <a:schemeClr val="accent1">
                              <a:lumMod val="75000"/>
                            </a:schemeClr>
                          </a:solidFill>
                          <a:effectLst/>
                        </a:rPr>
                        <a:t>15:45</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smtClean="0">
                          <a:solidFill>
                            <a:schemeClr val="accent1">
                              <a:lumMod val="75000"/>
                            </a:schemeClr>
                          </a:solidFill>
                          <a:effectLst/>
                        </a:rPr>
                        <a:t>16:0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rPr>
                        <a:t>A che punto è la definizione della RIS 3 Sicilia</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r>
              <a:tr h="366583">
                <a:tc rowSpan="3" gridSpan="2">
                  <a:txBody>
                    <a:bodyPr/>
                    <a:lstStyle/>
                    <a:p>
                      <a:pPr algn="ctr" fontAlgn="t"/>
                      <a:endParaRPr lang="it-IT" sz="1600" b="1" u="none" strike="noStrike" dirty="0" smtClean="0">
                        <a:solidFill>
                          <a:schemeClr val="accent1">
                            <a:lumMod val="75000"/>
                          </a:schemeClr>
                        </a:solidFill>
                        <a:effectLst/>
                      </a:endParaRP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Emanuela </a:t>
                      </a:r>
                      <a:r>
                        <a:rPr lang="it-IT" sz="1400" b="1" u="none" strike="noStrike" kern="1200" dirty="0" err="1" smtClean="0">
                          <a:solidFill>
                            <a:schemeClr val="accent1">
                              <a:lumMod val="75000"/>
                            </a:schemeClr>
                          </a:solidFill>
                          <a:effectLst/>
                          <a:latin typeface="+mn-lt"/>
                          <a:ea typeface="+mn-ea"/>
                          <a:cs typeface="+mn-cs"/>
                        </a:rPr>
                        <a:t>Guccione</a:t>
                      </a:r>
                      <a:endParaRPr lang="it-IT" sz="1400" b="1" u="none" strike="noStrike" kern="1200" dirty="0" smtClean="0">
                        <a:solidFill>
                          <a:schemeClr val="accent1">
                            <a:lumMod val="75000"/>
                          </a:schemeClr>
                        </a:solidFill>
                        <a:effectLst/>
                        <a:latin typeface="+mn-lt"/>
                        <a:ea typeface="+mn-ea"/>
                        <a:cs typeface="+mn-cs"/>
                      </a:endParaRP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 </a:t>
                      </a:r>
                      <a:r>
                        <a:rPr lang="it-IT" sz="1400" b="1" i="1" u="none" strike="noStrike" kern="1200" dirty="0" smtClean="0">
                          <a:solidFill>
                            <a:schemeClr val="accent1">
                              <a:lumMod val="75000"/>
                            </a:schemeClr>
                          </a:solidFill>
                          <a:effectLst/>
                          <a:latin typeface="+mn-lt"/>
                          <a:ea typeface="+mn-ea"/>
                          <a:cs typeface="+mn-cs"/>
                        </a:rPr>
                        <a:t>Regione Siciliana</a:t>
                      </a:r>
                      <a:endParaRPr lang="it-IT" sz="1400" b="1" i="1" u="none" strike="noStrike" kern="1200" dirty="0">
                        <a:solidFill>
                          <a:schemeClr val="accent1">
                            <a:lumMod val="75000"/>
                          </a:schemeClr>
                        </a:solidFill>
                        <a:effectLst/>
                        <a:latin typeface="+mn-lt"/>
                        <a:ea typeface="+mn-ea"/>
                        <a:cs typeface="+mn-cs"/>
                      </a:endParaRPr>
                    </a:p>
                  </a:txBody>
                  <a:tcPr marL="9525" marR="9525" marT="9525" marB="0"/>
                </a:tc>
                <a:tc rowSpan="3" h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ercorso svolto</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rossime tappe</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Vision, selezione priorità e policy mix</a:t>
                      </a:r>
                    </a:p>
                  </a:txBody>
                  <a:tcPr marL="9525" marR="9525" marT="9525" marB="0" anchor="b"/>
                </a:tc>
              </a:tr>
              <a:tr h="366583">
                <a:tc>
                  <a:txBody>
                    <a:bodyPr/>
                    <a:lstStyle/>
                    <a:p>
                      <a:pPr algn="ctr" fontAlgn="b"/>
                      <a:r>
                        <a:rPr lang="it-IT" sz="1600" b="1" u="none" strike="noStrike" dirty="0" smtClean="0">
                          <a:solidFill>
                            <a:schemeClr val="accent1">
                              <a:lumMod val="75000"/>
                            </a:schemeClr>
                          </a:solidFill>
                          <a:effectLst/>
                        </a:rPr>
                        <a:t>16:0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smtClean="0">
                          <a:solidFill>
                            <a:schemeClr val="accent1">
                              <a:lumMod val="75000"/>
                            </a:schemeClr>
                          </a:solidFill>
                          <a:effectLst/>
                        </a:rPr>
                        <a:t>16:2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erventi di </a:t>
                      </a:r>
                      <a:r>
                        <a:rPr lang="it-IT" sz="1600" b="1" u="none" strike="noStrike" dirty="0" smtClean="0">
                          <a:solidFill>
                            <a:schemeClr val="accent1">
                              <a:lumMod val="75000"/>
                            </a:schemeClr>
                          </a:solidFill>
                          <a:effectLst/>
                        </a:rPr>
                        <a:t>chiarimenti / confronto </a:t>
                      </a:r>
                      <a:r>
                        <a:rPr lang="it-IT" sz="1600" b="1" u="none" strike="noStrike" dirty="0">
                          <a:solidFill>
                            <a:schemeClr val="accent1">
                              <a:lumMod val="75000"/>
                            </a:schemeClr>
                          </a:solidFill>
                          <a:effectLst/>
                        </a:rPr>
                        <a:t>/ condivisione </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bl>
          </a:graphicData>
        </a:graphic>
      </p:graphicFrame>
      <p:graphicFrame>
        <p:nvGraphicFramePr>
          <p:cNvPr id="7" name="Diagramma 6"/>
          <p:cNvGraphicFramePr/>
          <p:nvPr>
            <p:extLst/>
          </p:nvPr>
        </p:nvGraphicFramePr>
        <p:xfrm>
          <a:off x="1115616" y="1340768"/>
          <a:ext cx="7272808"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9718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noFill/>
        <a:ln w="28575" algn="ctr">
          <a:solidFill>
            <a:srgbClr val="FF0000"/>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0</TotalTime>
  <Words>2811</Words>
  <Application>Microsoft Office PowerPoint</Application>
  <PresentationFormat>Presentazione su schermo (4:3)</PresentationFormat>
  <Paragraphs>464</Paragraphs>
  <Slides>33</Slides>
  <Notes>7</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33</vt:i4>
      </vt:variant>
    </vt:vector>
  </HeadingPairs>
  <TitlesOfParts>
    <vt:vector size="36" baseType="lpstr">
      <vt:lpstr>Tema di Office</vt:lpstr>
      <vt:lpstr>3_Default Design</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A che punto è la definizione della RIS 3 Sicilia: prossime tappe Azioni previste e risultati attesi nei prossimi mesi  (aprile-dicembre 2014) </vt:lpstr>
      <vt:lpstr>La RIS 3 Sicilia ha avviato un processo per valorizzare  il potenziale individuato attraverso:</vt:lpstr>
      <vt:lpstr>Obiettivi</vt:lpstr>
      <vt:lpstr>Presentazione standard di PowerPoint</vt:lpstr>
      <vt:lpstr>Il perseguimento dei tre obiettivi verrà effettuato mediante un approccio logico dual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3 Passi per Partecipare</vt:lpstr>
      <vt:lpstr> 3 Passi per Partecipare</vt:lpstr>
      <vt:lpstr> Partecipa</vt:lpstr>
      <vt:lpstr>Presentazione standard di PowerPoint</vt:lpstr>
      <vt:lpstr>Presentazione standard di PowerPoint</vt:lpstr>
      <vt:lpstr>Presentazione standard di PowerPoint</vt:lpstr>
      <vt:lpstr> 3 Passi per Partecipare</vt:lpstr>
      <vt:lpstr> 3 Passi per Partecipare</vt:lpstr>
      <vt:lpstr> Partecipa</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ser</dc:creator>
  <cp:lastModifiedBy>User</cp:lastModifiedBy>
  <cp:revision>51</cp:revision>
  <dcterms:created xsi:type="dcterms:W3CDTF">2014-05-07T09:53:03Z</dcterms:created>
  <dcterms:modified xsi:type="dcterms:W3CDTF">2014-05-10T07:24:29Z</dcterms:modified>
</cp:coreProperties>
</file>